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3.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4.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5.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6.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7.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8.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9.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10.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1.xml" ContentType="application/vnd.openxmlformats-officedocument.theme+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14"/>
  </p:notesMasterIdLst>
  <p:handoutMasterIdLst>
    <p:handoutMasterId r:id="rId215"/>
  </p:handoutMasterIdLst>
  <p:sldIdLst>
    <p:sldId id="2147469997" r:id="rId16"/>
    <p:sldId id="2147470039" r:id="rId17"/>
    <p:sldId id="2134805319" r:id="rId18"/>
    <p:sldId id="2147470068" r:id="rId19"/>
    <p:sldId id="361" r:id="rId20"/>
    <p:sldId id="331" r:id="rId21"/>
    <p:sldId id="2147470038" r:id="rId22"/>
    <p:sldId id="2147469893" r:id="rId23"/>
    <p:sldId id="2147469889" r:id="rId24"/>
    <p:sldId id="2147469890" r:id="rId25"/>
    <p:sldId id="2147469891" r:id="rId26"/>
    <p:sldId id="2134805339" r:id="rId27"/>
    <p:sldId id="2134805401" r:id="rId28"/>
    <p:sldId id="2147470019" r:id="rId29"/>
    <p:sldId id="2147470069" r:id="rId30"/>
    <p:sldId id="2134805361" r:id="rId31"/>
    <p:sldId id="2147470029" r:id="rId32"/>
    <p:sldId id="2147469912" r:id="rId33"/>
    <p:sldId id="2147470063" r:id="rId34"/>
    <p:sldId id="2147470065" r:id="rId35"/>
    <p:sldId id="2134805395" r:id="rId36"/>
    <p:sldId id="2147469918" r:id="rId37"/>
    <p:sldId id="2134805351" r:id="rId38"/>
    <p:sldId id="2134805352" r:id="rId39"/>
    <p:sldId id="2147469919" r:id="rId40"/>
    <p:sldId id="2134805356" r:id="rId41"/>
    <p:sldId id="2147469920" r:id="rId42"/>
    <p:sldId id="2147470018" r:id="rId43"/>
    <p:sldId id="2134805357" r:id="rId44"/>
    <p:sldId id="2361" r:id="rId45"/>
    <p:sldId id="2134805399" r:id="rId46"/>
    <p:sldId id="2134805391" r:id="rId47"/>
    <p:sldId id="2147470031" r:id="rId48"/>
    <p:sldId id="452" r:id="rId49"/>
    <p:sldId id="2134805322" r:id="rId50"/>
    <p:sldId id="2147470020" r:id="rId51"/>
    <p:sldId id="2134805336" r:id="rId52"/>
    <p:sldId id="2134805397" r:id="rId53"/>
    <p:sldId id="2147469963" r:id="rId54"/>
    <p:sldId id="2147469902" r:id="rId55"/>
    <p:sldId id="2134805398" r:id="rId56"/>
    <p:sldId id="2147469900" r:id="rId57"/>
    <p:sldId id="2147469903" r:id="rId58"/>
    <p:sldId id="2147469925" r:id="rId59"/>
    <p:sldId id="2134805392" r:id="rId60"/>
    <p:sldId id="2147470021" r:id="rId61"/>
    <p:sldId id="2147470022" r:id="rId62"/>
    <p:sldId id="2980" r:id="rId63"/>
    <p:sldId id="8747" r:id="rId64"/>
    <p:sldId id="8748" r:id="rId65"/>
    <p:sldId id="2147469972" r:id="rId66"/>
    <p:sldId id="2134805340" r:id="rId67"/>
    <p:sldId id="2147470023" r:id="rId68"/>
    <p:sldId id="2147470025" r:id="rId69"/>
    <p:sldId id="2147470026" r:id="rId70"/>
    <p:sldId id="2147469982" r:id="rId71"/>
    <p:sldId id="2147470034" r:id="rId72"/>
    <p:sldId id="2147470036" r:id="rId73"/>
    <p:sldId id="2147469904" r:id="rId74"/>
    <p:sldId id="2147470049" r:id="rId75"/>
    <p:sldId id="2147470033" r:id="rId76"/>
    <p:sldId id="2134805309" r:id="rId77"/>
    <p:sldId id="2076136548" r:id="rId78"/>
    <p:sldId id="2076137857" r:id="rId79"/>
    <p:sldId id="2134805313" r:id="rId80"/>
    <p:sldId id="2134805317" r:id="rId81"/>
    <p:sldId id="2134805314" r:id="rId82"/>
    <p:sldId id="2147470040" r:id="rId83"/>
    <p:sldId id="2147470007" r:id="rId84"/>
    <p:sldId id="2147470008" r:id="rId85"/>
    <p:sldId id="2147470009" r:id="rId86"/>
    <p:sldId id="2147469957" r:id="rId87"/>
    <p:sldId id="2147469956" r:id="rId88"/>
    <p:sldId id="2147470047" r:id="rId89"/>
    <p:sldId id="2147469958" r:id="rId90"/>
    <p:sldId id="2147470042" r:id="rId91"/>
    <p:sldId id="2147470055" r:id="rId92"/>
    <p:sldId id="2147470045" r:id="rId93"/>
    <p:sldId id="2147470043" r:id="rId94"/>
    <p:sldId id="2147470053" r:id="rId95"/>
    <p:sldId id="2147470057" r:id="rId96"/>
    <p:sldId id="2147470062" r:id="rId97"/>
    <p:sldId id="2147470048" r:id="rId98"/>
    <p:sldId id="2147470059" r:id="rId99"/>
    <p:sldId id="2147470060" r:id="rId100"/>
    <p:sldId id="2147470066" r:id="rId101"/>
    <p:sldId id="2147470067" r:id="rId102"/>
    <p:sldId id="2147469898" r:id="rId103"/>
    <p:sldId id="2134805387" r:id="rId104"/>
    <p:sldId id="2134805380" r:id="rId105"/>
    <p:sldId id="2147469968" r:id="rId106"/>
    <p:sldId id="2147469975" r:id="rId107"/>
    <p:sldId id="2147469969" r:id="rId108"/>
    <p:sldId id="2147469979" r:id="rId109"/>
    <p:sldId id="2147469983" r:id="rId110"/>
    <p:sldId id="2147469984" r:id="rId111"/>
    <p:sldId id="2147469985" r:id="rId112"/>
    <p:sldId id="2147469988" r:id="rId113"/>
    <p:sldId id="2147469986" r:id="rId114"/>
    <p:sldId id="2147469987" r:id="rId115"/>
    <p:sldId id="2147469990" r:id="rId116"/>
    <p:sldId id="2147469991" r:id="rId117"/>
    <p:sldId id="2147470027" r:id="rId118"/>
    <p:sldId id="2147470052" r:id="rId119"/>
    <p:sldId id="2147470002" r:id="rId120"/>
    <p:sldId id="2134805500" r:id="rId121"/>
    <p:sldId id="2134805501" r:id="rId122"/>
    <p:sldId id="2134805440" r:id="rId123"/>
    <p:sldId id="2134805439" r:id="rId124"/>
    <p:sldId id="2134805441" r:id="rId125"/>
    <p:sldId id="2134805442" r:id="rId126"/>
    <p:sldId id="2134805434" r:id="rId127"/>
    <p:sldId id="2134805445" r:id="rId128"/>
    <p:sldId id="2134805473" r:id="rId129"/>
    <p:sldId id="2134805475" r:id="rId130"/>
    <p:sldId id="2134805477" r:id="rId131"/>
    <p:sldId id="2134805436" r:id="rId132"/>
    <p:sldId id="2134805478" r:id="rId133"/>
    <p:sldId id="2134805479" r:id="rId134"/>
    <p:sldId id="2134805438" r:id="rId135"/>
    <p:sldId id="2134805481" r:id="rId136"/>
    <p:sldId id="2134805457" r:id="rId137"/>
    <p:sldId id="2134805471" r:id="rId138"/>
    <p:sldId id="2147470006" r:id="rId139"/>
    <p:sldId id="2147470015" r:id="rId140"/>
    <p:sldId id="2147469947" r:id="rId141"/>
    <p:sldId id="8706" r:id="rId142"/>
    <p:sldId id="8685" r:id="rId143"/>
    <p:sldId id="8689" r:id="rId144"/>
    <p:sldId id="8692" r:id="rId145"/>
    <p:sldId id="8693" r:id="rId146"/>
    <p:sldId id="8686" r:id="rId147"/>
    <p:sldId id="8694" r:id="rId148"/>
    <p:sldId id="8710" r:id="rId149"/>
    <p:sldId id="2134805393" r:id="rId150"/>
    <p:sldId id="8696" r:id="rId151"/>
    <p:sldId id="2147469948" r:id="rId152"/>
    <p:sldId id="2134805400" r:id="rId153"/>
    <p:sldId id="8697" r:id="rId154"/>
    <p:sldId id="10056" r:id="rId155"/>
    <p:sldId id="10074" r:id="rId156"/>
    <p:sldId id="2134805394" r:id="rId157"/>
    <p:sldId id="10057" r:id="rId158"/>
    <p:sldId id="10060" r:id="rId159"/>
    <p:sldId id="2147469949" r:id="rId160"/>
    <p:sldId id="2147469950" r:id="rId161"/>
    <p:sldId id="10014" r:id="rId162"/>
    <p:sldId id="10073" r:id="rId163"/>
    <p:sldId id="2147469951" r:id="rId164"/>
    <p:sldId id="8688" r:id="rId165"/>
    <p:sldId id="2134805396" r:id="rId166"/>
    <p:sldId id="2147469895" r:id="rId167"/>
    <p:sldId id="2147470014" r:id="rId168"/>
    <p:sldId id="2134805414" r:id="rId169"/>
    <p:sldId id="2134805415" r:id="rId170"/>
    <p:sldId id="2134805419" r:id="rId171"/>
    <p:sldId id="2134805416" r:id="rId172"/>
    <p:sldId id="2134805417" r:id="rId173"/>
    <p:sldId id="2134805418" r:id="rId174"/>
    <p:sldId id="2134805420" r:id="rId175"/>
    <p:sldId id="2134805421" r:id="rId176"/>
    <p:sldId id="2147469999" r:id="rId177"/>
    <p:sldId id="2134805496" r:id="rId178"/>
    <p:sldId id="2134805497" r:id="rId179"/>
    <p:sldId id="2134805498" r:id="rId180"/>
    <p:sldId id="2134805499" r:id="rId181"/>
    <p:sldId id="2134805495" r:id="rId182"/>
    <p:sldId id="2147470000" r:id="rId183"/>
    <p:sldId id="2147470001" r:id="rId184"/>
    <p:sldId id="2134805437" r:id="rId185"/>
    <p:sldId id="2134805431" r:id="rId186"/>
    <p:sldId id="2134805482" r:id="rId187"/>
    <p:sldId id="2134805483" r:id="rId188"/>
    <p:sldId id="2134805484" r:id="rId189"/>
    <p:sldId id="2147470035" r:id="rId190"/>
    <p:sldId id="2147469924" r:id="rId191"/>
    <p:sldId id="2357" r:id="rId192"/>
    <p:sldId id="2358" r:id="rId193"/>
    <p:sldId id="376" r:id="rId194"/>
    <p:sldId id="2147469980" r:id="rId195"/>
    <p:sldId id="2147469961" r:id="rId196"/>
    <p:sldId id="2147469962" r:id="rId197"/>
    <p:sldId id="2147469928" r:id="rId198"/>
    <p:sldId id="2147469929" r:id="rId199"/>
    <p:sldId id="2134805371" r:id="rId200"/>
    <p:sldId id="2147469933" r:id="rId201"/>
    <p:sldId id="2147469935" r:id="rId202"/>
    <p:sldId id="2147469938" r:id="rId203"/>
    <p:sldId id="2147469926" r:id="rId204"/>
    <p:sldId id="2134805321" r:id="rId205"/>
    <p:sldId id="2147469939" r:id="rId206"/>
    <p:sldId id="2147469940" r:id="rId207"/>
    <p:sldId id="2147469941" r:id="rId208"/>
    <p:sldId id="2147469942" r:id="rId209"/>
    <p:sldId id="2147469943" r:id="rId210"/>
    <p:sldId id="2147469978" r:id="rId211"/>
    <p:sldId id="2147469989" r:id="rId212"/>
    <p:sldId id="2147469977" r:id="rId213"/>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47470039"/>
            <p14:sldId id="2134805319"/>
            <p14:sldId id="2147470068"/>
            <p14:sldId id="361"/>
          </p14:sldIdLst>
        </p14:section>
        <p14:section name="Agenda" id="{EC196F7E-C66C-4E6D-A529-F29F08460426}">
          <p14:sldIdLst>
            <p14:sldId id="331"/>
            <p14:sldId id="2147470038"/>
          </p14:sldIdLst>
        </p14:section>
        <p14:section name="A retrospective" id="{17D23673-FF53-4FEE-8767-CEFB2015B419}">
          <p14:sldIdLst>
            <p14:sldId id="2147469893"/>
            <p14:sldId id="2147469889"/>
            <p14:sldId id="2147469890"/>
            <p14:sldId id="2147469891"/>
          </p14:sldIdLst>
        </p14:section>
        <p14:section name="Separating development" id="{10D934F9-88E4-4DF7-9315-DFFE38B6EFA3}">
          <p14:sldIdLst>
            <p14:sldId id="2134805339"/>
            <p14:sldId id="2134805401"/>
          </p14:sldIdLst>
        </p14:section>
        <p14:section name="Agenda" id="{892A2FA2-7EBF-4617-A5A2-213D0FAF2FE3}">
          <p14:sldIdLst>
            <p14:sldId id="2147470019"/>
            <p14:sldId id="2147470069"/>
          </p14:sldIdLst>
        </p14:section>
        <p14:section name="Data preparation" id="{904B9ABC-98F1-4890-9D79-4C16FA581388}">
          <p14:sldIdLst>
            <p14:sldId id="2134805361"/>
            <p14:sldId id="2147470029"/>
            <p14:sldId id="2147469912"/>
            <p14:sldId id="2147470063"/>
            <p14:sldId id="2147470065"/>
            <p14:sldId id="2134805395"/>
            <p14:sldId id="2147469918"/>
            <p14:sldId id="2134805351"/>
            <p14:sldId id="2134805352"/>
            <p14:sldId id="2147469919"/>
            <p14:sldId id="2134805356"/>
            <p14:sldId id="2147469920"/>
            <p14:sldId id="2147470018"/>
            <p14:sldId id="2134805357"/>
            <p14:sldId id="2361"/>
            <p14:sldId id="2134805399"/>
          </p14:sldIdLst>
        </p14:section>
        <p14:section name="Data modeling" id="{AD366B8C-F16F-420F-85F1-90974D88BCE4}">
          <p14:sldIdLst>
            <p14:sldId id="2134805391"/>
            <p14:sldId id="2147470031"/>
            <p14:sldId id="452"/>
            <p14:sldId id="2134805322"/>
            <p14:sldId id="2147470020"/>
            <p14:sldId id="2134805336"/>
            <p14:sldId id="2134805397"/>
            <p14:sldId id="2147469963"/>
            <p14:sldId id="2147469902"/>
            <p14:sldId id="2134805398"/>
            <p14:sldId id="2147469900"/>
            <p14:sldId id="2147469903"/>
            <p14:sldId id="2147469925"/>
            <p14:sldId id="2134805392"/>
            <p14:sldId id="2147470021"/>
            <p14:sldId id="2147470022"/>
            <p14:sldId id="2980"/>
            <p14:sldId id="8747"/>
            <p14:sldId id="8748"/>
            <p14:sldId id="2147469972"/>
            <p14:sldId id="2134805340"/>
            <p14:sldId id="2147470023"/>
            <p14:sldId id="2147470025"/>
            <p14:sldId id="2147470026"/>
            <p14:sldId id="2147469982"/>
            <p14:sldId id="2147470034"/>
            <p14:sldId id="2147470036"/>
          </p14:sldIdLst>
        </p14:section>
        <p14:section name="Data visualization" id="{341DC7CA-8F44-4A1D-9531-13BBE3EB2D50}">
          <p14:sldIdLst>
            <p14:sldId id="2147469904"/>
            <p14:sldId id="2147470049"/>
            <p14:sldId id="2147470033"/>
            <p14:sldId id="2134805309"/>
            <p14:sldId id="2076136548"/>
            <p14:sldId id="2076137857"/>
            <p14:sldId id="2134805313"/>
            <p14:sldId id="2134805317"/>
            <p14:sldId id="2134805314"/>
            <p14:sldId id="2147470040"/>
            <p14:sldId id="2147470007"/>
            <p14:sldId id="2147470008"/>
            <p14:sldId id="2147470009"/>
            <p14:sldId id="2147469957"/>
            <p14:sldId id="2147469956"/>
            <p14:sldId id="2147470047"/>
            <p14:sldId id="2147469958"/>
            <p14:sldId id="2147470042"/>
            <p14:sldId id="2147470055"/>
            <p14:sldId id="2147470045"/>
            <p14:sldId id="2147470043"/>
            <p14:sldId id="2147470053"/>
            <p14:sldId id="2147470057"/>
            <p14:sldId id="2147470062"/>
            <p14:sldId id="2147470048"/>
            <p14:sldId id="2147470059"/>
            <p14:sldId id="2147470060"/>
            <p14:sldId id="2147470066"/>
            <p14:sldId id="2147470067"/>
            <p14:sldId id="2147469898"/>
            <p14:sldId id="2134805387"/>
            <p14:sldId id="2134805380"/>
            <p14:sldId id="2147469968"/>
            <p14:sldId id="2147469975"/>
            <p14:sldId id="2147469969"/>
            <p14:sldId id="2147469979"/>
            <p14:sldId id="2147469983"/>
            <p14:sldId id="2147469984"/>
            <p14:sldId id="2147469985"/>
            <p14:sldId id="2147469988"/>
            <p14:sldId id="2147469986"/>
            <p14:sldId id="2147469987"/>
            <p14:sldId id="2147469990"/>
            <p14:sldId id="2147469991"/>
            <p14:sldId id="2147470027"/>
            <p14:sldId id="2147470052"/>
            <p14:sldId id="2147470002"/>
            <p14:sldId id="2134805500"/>
            <p14:sldId id="2134805501"/>
            <p14:sldId id="2134805440"/>
            <p14:sldId id="2134805439"/>
            <p14:sldId id="2134805441"/>
            <p14:sldId id="2134805442"/>
            <p14:sldId id="2134805434"/>
            <p14:sldId id="2134805445"/>
            <p14:sldId id="2134805473"/>
            <p14:sldId id="2134805475"/>
            <p14:sldId id="2134805477"/>
            <p14:sldId id="2134805436"/>
            <p14:sldId id="2134805478"/>
            <p14:sldId id="2134805479"/>
            <p14:sldId id="2134805438"/>
            <p14:sldId id="2134805481"/>
            <p14:sldId id="2134805457"/>
            <p14:sldId id="2134805471"/>
            <p14:sldId id="2147470006"/>
            <p14:sldId id="2147470015"/>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Lst>
        </p14:section>
        <p14:section name="Closing" id="{5367BB53-6C18-48FA-8434-79681233C6DF}">
          <p14:sldIdLst>
            <p14:sldId id="2134805396"/>
            <p14:sldId id="2147469895"/>
          </p14:sldIdLst>
        </p14:section>
        <p14:section name="Appendix" id="{D54E3151-5787-4147-9BDF-BD1A06F5E6C9}">
          <p14:sldIdLst>
            <p14:sldId id="2147470014"/>
            <p14:sldId id="2134805414"/>
            <p14:sldId id="2134805415"/>
            <p14:sldId id="2134805419"/>
            <p14:sldId id="2134805416"/>
            <p14:sldId id="2134805417"/>
            <p14:sldId id="2134805418"/>
            <p14:sldId id="2134805420"/>
            <p14:sldId id="2134805421"/>
            <p14:sldId id="2147469999"/>
            <p14:sldId id="2134805496"/>
            <p14:sldId id="2134805497"/>
            <p14:sldId id="2134805498"/>
            <p14:sldId id="2134805499"/>
            <p14:sldId id="2134805495"/>
            <p14:sldId id="2147470000"/>
            <p14:sldId id="2147470001"/>
            <p14:sldId id="2134805437"/>
            <p14:sldId id="2134805431"/>
            <p14:sldId id="2134805482"/>
            <p14:sldId id="2134805483"/>
            <p14:sldId id="2134805484"/>
            <p14:sldId id="2147470035"/>
            <p14:sldId id="2147469924"/>
            <p14:sldId id="2357"/>
            <p14:sldId id="2358"/>
            <p14:sldId id="376"/>
            <p14:sldId id="2147469980"/>
            <p14:sldId id="2147469961"/>
            <p14:sldId id="2147469962"/>
            <p14:sldId id="2147469928"/>
            <p14:sldId id="2147469929"/>
            <p14:sldId id="2134805371"/>
            <p14:sldId id="2147469933"/>
            <p14:sldId id="2147469935"/>
            <p14:sldId id="2147469938"/>
            <p14:sldId id="2147469926"/>
            <p14:sldId id="2134805321"/>
            <p14:sldId id="2147469939"/>
            <p14:sldId id="2147469940"/>
            <p14:sldId id="2147469941"/>
            <p14:sldId id="2147469942"/>
            <p14:sldId id="2147469943"/>
            <p14:sldId id="2147469978"/>
            <p14:sldId id="2147469989"/>
            <p14:sldId id="214746997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EF9A3D"/>
    <a:srgbClr val="BB6100"/>
    <a:srgbClr val="0078D4"/>
    <a:srgbClr val="ADADAD"/>
    <a:srgbClr val="000000"/>
    <a:srgbClr val="3C3C41"/>
    <a:srgbClr val="525252"/>
    <a:srgbClr val="6A4B16"/>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DA56C6-6E90-4EDC-862A-743FE0A97AE9}" v="111" dt="2023-03-20T15:49:50.9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187" autoAdjust="0"/>
  </p:normalViewPr>
  <p:slideViewPr>
    <p:cSldViewPr snapToGrid="0">
      <p:cViewPr>
        <p:scale>
          <a:sx n="100" d="100"/>
          <a:sy n="100" d="100"/>
        </p:scale>
        <p:origin x="1876" y="716"/>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commentAuthors" Target="commentAuthors.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presProps" Target="presProps.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viewProps" Target="viewProps.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189" Type="http://schemas.openxmlformats.org/officeDocument/2006/relationships/slide" Target="slides/slide174.xml"/><Relationship Id="rId219" Type="http://schemas.openxmlformats.org/officeDocument/2006/relationships/theme" Target="theme/theme1.xml"/><Relationship Id="rId3" Type="http://schemas.openxmlformats.org/officeDocument/2006/relationships/customXml" Target="../customXml/item3.xml"/><Relationship Id="rId214" Type="http://schemas.openxmlformats.org/officeDocument/2006/relationships/notesMaster" Target="notesMasters/notesMaster1.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tableStyles" Target="tableStyles.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handoutMaster" Target="handoutMasters/handoutMaster1.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microsoft.com/office/2016/11/relationships/changesInfo" Target="changesInfos/changesInfo1.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microsoft.com/office/2015/10/relationships/revisionInfo" Target="revisionInfo.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6EDA56C6-6E90-4EDC-862A-743FE0A97AE9}"/>
    <pc:docChg chg="undo custSel addSld delSld modSld modSection">
      <pc:chgData name="Alex Powers" userId="ae4a1fc7-4395-46d3-b2f1-3b3c37036ad1" providerId="ADAL" clId="{6EDA56C6-6E90-4EDC-862A-743FE0A97AE9}" dt="2023-03-20T15:49:55.542" v="723" actId="729"/>
      <pc:docMkLst>
        <pc:docMk/>
      </pc:docMkLst>
      <pc:sldChg chg="modTransition">
        <pc:chgData name="Alex Powers" userId="ae4a1fc7-4395-46d3-b2f1-3b3c37036ad1" providerId="ADAL" clId="{6EDA56C6-6E90-4EDC-862A-743FE0A97AE9}" dt="2023-03-20T15:47:36.499" v="690"/>
        <pc:sldMkLst>
          <pc:docMk/>
          <pc:sldMk cId="590324826" sldId="331"/>
        </pc:sldMkLst>
      </pc:sldChg>
      <pc:sldChg chg="modTransition">
        <pc:chgData name="Alex Powers" userId="ae4a1fc7-4395-46d3-b2f1-3b3c37036ad1" providerId="ADAL" clId="{6EDA56C6-6E90-4EDC-862A-743FE0A97AE9}" dt="2023-03-20T15:47:36.499" v="690"/>
        <pc:sldMkLst>
          <pc:docMk/>
          <pc:sldMk cId="601881036" sldId="361"/>
        </pc:sldMkLst>
      </pc:sldChg>
      <pc:sldChg chg="del">
        <pc:chgData name="Alex Powers" userId="ae4a1fc7-4395-46d3-b2f1-3b3c37036ad1" providerId="ADAL" clId="{6EDA56C6-6E90-4EDC-862A-743FE0A97AE9}" dt="2023-03-17T19:57:26.332" v="33" actId="2696"/>
        <pc:sldMkLst>
          <pc:docMk/>
          <pc:sldMk cId="640778274" sldId="376"/>
        </pc:sldMkLst>
      </pc:sldChg>
      <pc:sldChg chg="add modTransition">
        <pc:chgData name="Alex Powers" userId="ae4a1fc7-4395-46d3-b2f1-3b3c37036ad1" providerId="ADAL" clId="{6EDA56C6-6E90-4EDC-862A-743FE0A97AE9}" dt="2023-03-20T15:47:36.499" v="690"/>
        <pc:sldMkLst>
          <pc:docMk/>
          <pc:sldMk cId="1884234453" sldId="376"/>
        </pc:sldMkLst>
      </pc:sldChg>
      <pc:sldChg chg="modTransition">
        <pc:chgData name="Alex Powers" userId="ae4a1fc7-4395-46d3-b2f1-3b3c37036ad1" providerId="ADAL" clId="{6EDA56C6-6E90-4EDC-862A-743FE0A97AE9}" dt="2023-03-20T15:47:36.499" v="690"/>
        <pc:sldMkLst>
          <pc:docMk/>
          <pc:sldMk cId="2081997488" sldId="452"/>
        </pc:sldMkLst>
      </pc:sldChg>
      <pc:sldChg chg="add modTransition">
        <pc:chgData name="Alex Powers" userId="ae4a1fc7-4395-46d3-b2f1-3b3c37036ad1" providerId="ADAL" clId="{6EDA56C6-6E90-4EDC-862A-743FE0A97AE9}" dt="2023-03-20T15:47:36.499" v="690"/>
        <pc:sldMkLst>
          <pc:docMk/>
          <pc:sldMk cId="380234302" sldId="2357"/>
        </pc:sldMkLst>
      </pc:sldChg>
      <pc:sldChg chg="del">
        <pc:chgData name="Alex Powers" userId="ae4a1fc7-4395-46d3-b2f1-3b3c37036ad1" providerId="ADAL" clId="{6EDA56C6-6E90-4EDC-862A-743FE0A97AE9}" dt="2023-03-17T19:57:26.332" v="33" actId="2696"/>
        <pc:sldMkLst>
          <pc:docMk/>
          <pc:sldMk cId="2491205377" sldId="2357"/>
        </pc:sldMkLst>
      </pc:sldChg>
      <pc:sldChg chg="add modTransition">
        <pc:chgData name="Alex Powers" userId="ae4a1fc7-4395-46d3-b2f1-3b3c37036ad1" providerId="ADAL" clId="{6EDA56C6-6E90-4EDC-862A-743FE0A97AE9}" dt="2023-03-20T15:47:36.499" v="690"/>
        <pc:sldMkLst>
          <pc:docMk/>
          <pc:sldMk cId="662912315" sldId="2358"/>
        </pc:sldMkLst>
      </pc:sldChg>
      <pc:sldChg chg="del">
        <pc:chgData name="Alex Powers" userId="ae4a1fc7-4395-46d3-b2f1-3b3c37036ad1" providerId="ADAL" clId="{6EDA56C6-6E90-4EDC-862A-743FE0A97AE9}" dt="2023-03-17T19:57:26.332" v="33" actId="2696"/>
        <pc:sldMkLst>
          <pc:docMk/>
          <pc:sldMk cId="2684666586" sldId="2358"/>
        </pc:sldMkLst>
      </pc:sldChg>
      <pc:sldChg chg="modTransition">
        <pc:chgData name="Alex Powers" userId="ae4a1fc7-4395-46d3-b2f1-3b3c37036ad1" providerId="ADAL" clId="{6EDA56C6-6E90-4EDC-862A-743FE0A97AE9}" dt="2023-03-20T15:47:36.499" v="690"/>
        <pc:sldMkLst>
          <pc:docMk/>
          <pc:sldMk cId="1604298163" sldId="2980"/>
        </pc:sldMkLst>
      </pc:sldChg>
      <pc:sldChg chg="modTransition">
        <pc:chgData name="Alex Powers" userId="ae4a1fc7-4395-46d3-b2f1-3b3c37036ad1" providerId="ADAL" clId="{6EDA56C6-6E90-4EDC-862A-743FE0A97AE9}" dt="2023-03-20T15:47:36.499" v="690"/>
        <pc:sldMkLst>
          <pc:docMk/>
          <pc:sldMk cId="2623831376" sldId="8685"/>
        </pc:sldMkLst>
      </pc:sldChg>
      <pc:sldChg chg="modTransition">
        <pc:chgData name="Alex Powers" userId="ae4a1fc7-4395-46d3-b2f1-3b3c37036ad1" providerId="ADAL" clId="{6EDA56C6-6E90-4EDC-862A-743FE0A97AE9}" dt="2023-03-20T15:47:36.499" v="690"/>
        <pc:sldMkLst>
          <pc:docMk/>
          <pc:sldMk cId="1033734336" sldId="8686"/>
        </pc:sldMkLst>
      </pc:sldChg>
      <pc:sldChg chg="modTransition">
        <pc:chgData name="Alex Powers" userId="ae4a1fc7-4395-46d3-b2f1-3b3c37036ad1" providerId="ADAL" clId="{6EDA56C6-6E90-4EDC-862A-743FE0A97AE9}" dt="2023-03-20T15:47:36.499" v="690"/>
        <pc:sldMkLst>
          <pc:docMk/>
          <pc:sldMk cId="3933805859" sldId="8688"/>
        </pc:sldMkLst>
      </pc:sldChg>
      <pc:sldChg chg="modTransition">
        <pc:chgData name="Alex Powers" userId="ae4a1fc7-4395-46d3-b2f1-3b3c37036ad1" providerId="ADAL" clId="{6EDA56C6-6E90-4EDC-862A-743FE0A97AE9}" dt="2023-03-20T15:47:36.499" v="690"/>
        <pc:sldMkLst>
          <pc:docMk/>
          <pc:sldMk cId="760737367" sldId="8689"/>
        </pc:sldMkLst>
      </pc:sldChg>
      <pc:sldChg chg="modTransition">
        <pc:chgData name="Alex Powers" userId="ae4a1fc7-4395-46d3-b2f1-3b3c37036ad1" providerId="ADAL" clId="{6EDA56C6-6E90-4EDC-862A-743FE0A97AE9}" dt="2023-03-20T15:47:36.499" v="690"/>
        <pc:sldMkLst>
          <pc:docMk/>
          <pc:sldMk cId="2240511217" sldId="8692"/>
        </pc:sldMkLst>
      </pc:sldChg>
      <pc:sldChg chg="modTransition">
        <pc:chgData name="Alex Powers" userId="ae4a1fc7-4395-46d3-b2f1-3b3c37036ad1" providerId="ADAL" clId="{6EDA56C6-6E90-4EDC-862A-743FE0A97AE9}" dt="2023-03-20T15:47:36.499" v="690"/>
        <pc:sldMkLst>
          <pc:docMk/>
          <pc:sldMk cId="2565598500" sldId="8693"/>
        </pc:sldMkLst>
      </pc:sldChg>
      <pc:sldChg chg="modTransition">
        <pc:chgData name="Alex Powers" userId="ae4a1fc7-4395-46d3-b2f1-3b3c37036ad1" providerId="ADAL" clId="{6EDA56C6-6E90-4EDC-862A-743FE0A97AE9}" dt="2023-03-20T15:47:36.499" v="690"/>
        <pc:sldMkLst>
          <pc:docMk/>
          <pc:sldMk cId="2694291549" sldId="8694"/>
        </pc:sldMkLst>
      </pc:sldChg>
      <pc:sldChg chg="modTransition">
        <pc:chgData name="Alex Powers" userId="ae4a1fc7-4395-46d3-b2f1-3b3c37036ad1" providerId="ADAL" clId="{6EDA56C6-6E90-4EDC-862A-743FE0A97AE9}" dt="2023-03-20T15:47:36.499" v="690"/>
        <pc:sldMkLst>
          <pc:docMk/>
          <pc:sldMk cId="1655363160" sldId="8696"/>
        </pc:sldMkLst>
      </pc:sldChg>
      <pc:sldChg chg="modTransition">
        <pc:chgData name="Alex Powers" userId="ae4a1fc7-4395-46d3-b2f1-3b3c37036ad1" providerId="ADAL" clId="{6EDA56C6-6E90-4EDC-862A-743FE0A97AE9}" dt="2023-03-20T15:47:36.499" v="690"/>
        <pc:sldMkLst>
          <pc:docMk/>
          <pc:sldMk cId="375123746" sldId="8697"/>
        </pc:sldMkLst>
      </pc:sldChg>
      <pc:sldChg chg="modTransition">
        <pc:chgData name="Alex Powers" userId="ae4a1fc7-4395-46d3-b2f1-3b3c37036ad1" providerId="ADAL" clId="{6EDA56C6-6E90-4EDC-862A-743FE0A97AE9}" dt="2023-03-20T15:47:36.499" v="690"/>
        <pc:sldMkLst>
          <pc:docMk/>
          <pc:sldMk cId="1486793624" sldId="8706"/>
        </pc:sldMkLst>
      </pc:sldChg>
      <pc:sldChg chg="modTransition">
        <pc:chgData name="Alex Powers" userId="ae4a1fc7-4395-46d3-b2f1-3b3c37036ad1" providerId="ADAL" clId="{6EDA56C6-6E90-4EDC-862A-743FE0A97AE9}" dt="2023-03-20T15:47:36.499" v="690"/>
        <pc:sldMkLst>
          <pc:docMk/>
          <pc:sldMk cId="1598136235" sldId="8710"/>
        </pc:sldMkLst>
      </pc:sldChg>
      <pc:sldChg chg="modTransition">
        <pc:chgData name="Alex Powers" userId="ae4a1fc7-4395-46d3-b2f1-3b3c37036ad1" providerId="ADAL" clId="{6EDA56C6-6E90-4EDC-862A-743FE0A97AE9}" dt="2023-03-20T15:47:36.499" v="690"/>
        <pc:sldMkLst>
          <pc:docMk/>
          <pc:sldMk cId="1352095539" sldId="8747"/>
        </pc:sldMkLst>
      </pc:sldChg>
      <pc:sldChg chg="modTransition">
        <pc:chgData name="Alex Powers" userId="ae4a1fc7-4395-46d3-b2f1-3b3c37036ad1" providerId="ADAL" clId="{6EDA56C6-6E90-4EDC-862A-743FE0A97AE9}" dt="2023-03-20T15:47:36.499" v="690"/>
        <pc:sldMkLst>
          <pc:docMk/>
          <pc:sldMk cId="661967785" sldId="8748"/>
        </pc:sldMkLst>
      </pc:sldChg>
      <pc:sldChg chg="modTransition">
        <pc:chgData name="Alex Powers" userId="ae4a1fc7-4395-46d3-b2f1-3b3c37036ad1" providerId="ADAL" clId="{6EDA56C6-6E90-4EDC-862A-743FE0A97AE9}" dt="2023-03-20T15:47:36.499" v="690"/>
        <pc:sldMkLst>
          <pc:docMk/>
          <pc:sldMk cId="409482485" sldId="10014"/>
        </pc:sldMkLst>
      </pc:sldChg>
      <pc:sldChg chg="modTransition">
        <pc:chgData name="Alex Powers" userId="ae4a1fc7-4395-46d3-b2f1-3b3c37036ad1" providerId="ADAL" clId="{6EDA56C6-6E90-4EDC-862A-743FE0A97AE9}" dt="2023-03-20T15:47:36.499" v="690"/>
        <pc:sldMkLst>
          <pc:docMk/>
          <pc:sldMk cId="4125500449" sldId="10056"/>
        </pc:sldMkLst>
      </pc:sldChg>
      <pc:sldChg chg="modTransition">
        <pc:chgData name="Alex Powers" userId="ae4a1fc7-4395-46d3-b2f1-3b3c37036ad1" providerId="ADAL" clId="{6EDA56C6-6E90-4EDC-862A-743FE0A97AE9}" dt="2023-03-20T15:47:36.499" v="690"/>
        <pc:sldMkLst>
          <pc:docMk/>
          <pc:sldMk cId="618699518" sldId="10057"/>
        </pc:sldMkLst>
      </pc:sldChg>
      <pc:sldChg chg="modTransition">
        <pc:chgData name="Alex Powers" userId="ae4a1fc7-4395-46d3-b2f1-3b3c37036ad1" providerId="ADAL" clId="{6EDA56C6-6E90-4EDC-862A-743FE0A97AE9}" dt="2023-03-20T15:47:36.499" v="690"/>
        <pc:sldMkLst>
          <pc:docMk/>
          <pc:sldMk cId="2479125209" sldId="10060"/>
        </pc:sldMkLst>
      </pc:sldChg>
      <pc:sldChg chg="modTransition">
        <pc:chgData name="Alex Powers" userId="ae4a1fc7-4395-46d3-b2f1-3b3c37036ad1" providerId="ADAL" clId="{6EDA56C6-6E90-4EDC-862A-743FE0A97AE9}" dt="2023-03-20T15:47:36.499" v="690"/>
        <pc:sldMkLst>
          <pc:docMk/>
          <pc:sldMk cId="3162241182" sldId="10073"/>
        </pc:sldMkLst>
      </pc:sldChg>
      <pc:sldChg chg="modTransition">
        <pc:chgData name="Alex Powers" userId="ae4a1fc7-4395-46d3-b2f1-3b3c37036ad1" providerId="ADAL" clId="{6EDA56C6-6E90-4EDC-862A-743FE0A97AE9}" dt="2023-03-20T15:47:36.499" v="690"/>
        <pc:sldMkLst>
          <pc:docMk/>
          <pc:sldMk cId="625063429" sldId="10074"/>
        </pc:sldMkLst>
      </pc:sldChg>
      <pc:sldChg chg="modTransition">
        <pc:chgData name="Alex Powers" userId="ae4a1fc7-4395-46d3-b2f1-3b3c37036ad1" providerId="ADAL" clId="{6EDA56C6-6E90-4EDC-862A-743FE0A97AE9}" dt="2023-03-20T15:47:36.499" v="690"/>
        <pc:sldMkLst>
          <pc:docMk/>
          <pc:sldMk cId="54194896" sldId="2076136548"/>
        </pc:sldMkLst>
      </pc:sldChg>
      <pc:sldChg chg="modTransition modAnim">
        <pc:chgData name="Alex Powers" userId="ae4a1fc7-4395-46d3-b2f1-3b3c37036ad1" providerId="ADAL" clId="{6EDA56C6-6E90-4EDC-862A-743FE0A97AE9}" dt="2023-03-20T15:47:36.499" v="690"/>
        <pc:sldMkLst>
          <pc:docMk/>
          <pc:sldMk cId="1421837563" sldId="2076137857"/>
        </pc:sldMkLst>
      </pc:sldChg>
      <pc:sldChg chg="modTransition modAnim">
        <pc:chgData name="Alex Powers" userId="ae4a1fc7-4395-46d3-b2f1-3b3c37036ad1" providerId="ADAL" clId="{6EDA56C6-6E90-4EDC-862A-743FE0A97AE9}" dt="2023-03-20T15:47:36.499" v="690"/>
        <pc:sldMkLst>
          <pc:docMk/>
          <pc:sldMk cId="2562142590" sldId="2134805313"/>
        </pc:sldMkLst>
      </pc:sldChg>
      <pc:sldChg chg="modTransition">
        <pc:chgData name="Alex Powers" userId="ae4a1fc7-4395-46d3-b2f1-3b3c37036ad1" providerId="ADAL" clId="{6EDA56C6-6E90-4EDC-862A-743FE0A97AE9}" dt="2023-03-20T15:47:36.499" v="690"/>
        <pc:sldMkLst>
          <pc:docMk/>
          <pc:sldMk cId="145885701" sldId="2134805314"/>
        </pc:sldMkLst>
      </pc:sldChg>
      <pc:sldChg chg="modTransition modAnim">
        <pc:chgData name="Alex Powers" userId="ae4a1fc7-4395-46d3-b2f1-3b3c37036ad1" providerId="ADAL" clId="{6EDA56C6-6E90-4EDC-862A-743FE0A97AE9}" dt="2023-03-20T15:47:36.499" v="690"/>
        <pc:sldMkLst>
          <pc:docMk/>
          <pc:sldMk cId="2831769863" sldId="2134805317"/>
        </pc:sldMkLst>
      </pc:sldChg>
      <pc:sldChg chg="modTransition">
        <pc:chgData name="Alex Powers" userId="ae4a1fc7-4395-46d3-b2f1-3b3c37036ad1" providerId="ADAL" clId="{6EDA56C6-6E90-4EDC-862A-743FE0A97AE9}" dt="2023-03-20T15:47:36.499" v="690"/>
        <pc:sldMkLst>
          <pc:docMk/>
          <pc:sldMk cId="3946906249" sldId="2134805319"/>
        </pc:sldMkLst>
      </pc:sldChg>
      <pc:sldChg chg="del">
        <pc:chgData name="Alex Powers" userId="ae4a1fc7-4395-46d3-b2f1-3b3c37036ad1" providerId="ADAL" clId="{6EDA56C6-6E90-4EDC-862A-743FE0A97AE9}" dt="2023-03-17T19:57:26.332" v="33" actId="2696"/>
        <pc:sldMkLst>
          <pc:docMk/>
          <pc:sldMk cId="368905041" sldId="2134805321"/>
        </pc:sldMkLst>
      </pc:sldChg>
      <pc:sldChg chg="add modTransition">
        <pc:chgData name="Alex Powers" userId="ae4a1fc7-4395-46d3-b2f1-3b3c37036ad1" providerId="ADAL" clId="{6EDA56C6-6E90-4EDC-862A-743FE0A97AE9}" dt="2023-03-20T15:47:36.499" v="690"/>
        <pc:sldMkLst>
          <pc:docMk/>
          <pc:sldMk cId="1199134230" sldId="2134805321"/>
        </pc:sldMkLst>
      </pc:sldChg>
      <pc:sldChg chg="modTransition">
        <pc:chgData name="Alex Powers" userId="ae4a1fc7-4395-46d3-b2f1-3b3c37036ad1" providerId="ADAL" clId="{6EDA56C6-6E90-4EDC-862A-743FE0A97AE9}" dt="2023-03-20T15:47:36.499" v="690"/>
        <pc:sldMkLst>
          <pc:docMk/>
          <pc:sldMk cId="2722310442" sldId="2134805322"/>
        </pc:sldMkLst>
      </pc:sldChg>
      <pc:sldChg chg="modTransition">
        <pc:chgData name="Alex Powers" userId="ae4a1fc7-4395-46d3-b2f1-3b3c37036ad1" providerId="ADAL" clId="{6EDA56C6-6E90-4EDC-862A-743FE0A97AE9}" dt="2023-03-20T15:47:36.499" v="690"/>
        <pc:sldMkLst>
          <pc:docMk/>
          <pc:sldMk cId="2941241533" sldId="2134805336"/>
        </pc:sldMkLst>
      </pc:sldChg>
      <pc:sldChg chg="modTransition">
        <pc:chgData name="Alex Powers" userId="ae4a1fc7-4395-46d3-b2f1-3b3c37036ad1" providerId="ADAL" clId="{6EDA56C6-6E90-4EDC-862A-743FE0A97AE9}" dt="2023-03-20T15:47:36.499" v="690"/>
        <pc:sldMkLst>
          <pc:docMk/>
          <pc:sldMk cId="1827504476" sldId="2134805339"/>
        </pc:sldMkLst>
      </pc:sldChg>
      <pc:sldChg chg="modTransition">
        <pc:chgData name="Alex Powers" userId="ae4a1fc7-4395-46d3-b2f1-3b3c37036ad1" providerId="ADAL" clId="{6EDA56C6-6E90-4EDC-862A-743FE0A97AE9}" dt="2023-03-20T15:47:36.499" v="690"/>
        <pc:sldMkLst>
          <pc:docMk/>
          <pc:sldMk cId="1468355621" sldId="2134805340"/>
        </pc:sldMkLst>
      </pc:sldChg>
      <pc:sldChg chg="modTransition">
        <pc:chgData name="Alex Powers" userId="ae4a1fc7-4395-46d3-b2f1-3b3c37036ad1" providerId="ADAL" clId="{6EDA56C6-6E90-4EDC-862A-743FE0A97AE9}" dt="2023-03-20T15:47:36.499" v="690"/>
        <pc:sldMkLst>
          <pc:docMk/>
          <pc:sldMk cId="4223309298" sldId="2134805351"/>
        </pc:sldMkLst>
      </pc:sldChg>
      <pc:sldChg chg="modTransition">
        <pc:chgData name="Alex Powers" userId="ae4a1fc7-4395-46d3-b2f1-3b3c37036ad1" providerId="ADAL" clId="{6EDA56C6-6E90-4EDC-862A-743FE0A97AE9}" dt="2023-03-20T15:47:36.499" v="690"/>
        <pc:sldMkLst>
          <pc:docMk/>
          <pc:sldMk cId="719146251" sldId="2134805352"/>
        </pc:sldMkLst>
      </pc:sldChg>
      <pc:sldChg chg="modTransition">
        <pc:chgData name="Alex Powers" userId="ae4a1fc7-4395-46d3-b2f1-3b3c37036ad1" providerId="ADAL" clId="{6EDA56C6-6E90-4EDC-862A-743FE0A97AE9}" dt="2023-03-20T15:47:36.499" v="690"/>
        <pc:sldMkLst>
          <pc:docMk/>
          <pc:sldMk cId="2982386195" sldId="2134805356"/>
        </pc:sldMkLst>
      </pc:sldChg>
      <pc:sldChg chg="modTransition">
        <pc:chgData name="Alex Powers" userId="ae4a1fc7-4395-46d3-b2f1-3b3c37036ad1" providerId="ADAL" clId="{6EDA56C6-6E90-4EDC-862A-743FE0A97AE9}" dt="2023-03-20T15:47:36.499" v="690"/>
        <pc:sldMkLst>
          <pc:docMk/>
          <pc:sldMk cId="3015969223" sldId="2134805357"/>
        </pc:sldMkLst>
      </pc:sldChg>
      <pc:sldChg chg="modTransition">
        <pc:chgData name="Alex Powers" userId="ae4a1fc7-4395-46d3-b2f1-3b3c37036ad1" providerId="ADAL" clId="{6EDA56C6-6E90-4EDC-862A-743FE0A97AE9}" dt="2023-03-20T15:47:36.499" v="690"/>
        <pc:sldMkLst>
          <pc:docMk/>
          <pc:sldMk cId="3984957095" sldId="2134805361"/>
        </pc:sldMkLst>
      </pc:sldChg>
      <pc:sldChg chg="add modTransition">
        <pc:chgData name="Alex Powers" userId="ae4a1fc7-4395-46d3-b2f1-3b3c37036ad1" providerId="ADAL" clId="{6EDA56C6-6E90-4EDC-862A-743FE0A97AE9}" dt="2023-03-20T15:47:36.499" v="690"/>
        <pc:sldMkLst>
          <pc:docMk/>
          <pc:sldMk cId="1315650376" sldId="2134805371"/>
        </pc:sldMkLst>
      </pc:sldChg>
      <pc:sldChg chg="del">
        <pc:chgData name="Alex Powers" userId="ae4a1fc7-4395-46d3-b2f1-3b3c37036ad1" providerId="ADAL" clId="{6EDA56C6-6E90-4EDC-862A-743FE0A97AE9}" dt="2023-03-17T19:57:26.332" v="33" actId="2696"/>
        <pc:sldMkLst>
          <pc:docMk/>
          <pc:sldMk cId="1411610020" sldId="2134805371"/>
        </pc:sldMkLst>
      </pc:sldChg>
      <pc:sldChg chg="del mod modTransition modShow">
        <pc:chgData name="Alex Powers" userId="ae4a1fc7-4395-46d3-b2f1-3b3c37036ad1" providerId="ADAL" clId="{6EDA56C6-6E90-4EDC-862A-743FE0A97AE9}" dt="2023-03-20T15:49:39.588" v="721" actId="2696"/>
        <pc:sldMkLst>
          <pc:docMk/>
          <pc:sldMk cId="346123479" sldId="2134805380"/>
        </pc:sldMkLst>
      </pc:sldChg>
      <pc:sldChg chg="add">
        <pc:chgData name="Alex Powers" userId="ae4a1fc7-4395-46d3-b2f1-3b3c37036ad1" providerId="ADAL" clId="{6EDA56C6-6E90-4EDC-862A-743FE0A97AE9}" dt="2023-03-20T15:49:50.983" v="722"/>
        <pc:sldMkLst>
          <pc:docMk/>
          <pc:sldMk cId="1294431326" sldId="2134805380"/>
        </pc:sldMkLst>
      </pc:sldChg>
      <pc:sldChg chg="del mod modTransition modShow">
        <pc:chgData name="Alex Powers" userId="ae4a1fc7-4395-46d3-b2f1-3b3c37036ad1" providerId="ADAL" clId="{6EDA56C6-6E90-4EDC-862A-743FE0A97AE9}" dt="2023-03-20T15:49:39.588" v="721" actId="2696"/>
        <pc:sldMkLst>
          <pc:docMk/>
          <pc:sldMk cId="2487549369" sldId="2134805387"/>
        </pc:sldMkLst>
      </pc:sldChg>
      <pc:sldChg chg="add">
        <pc:chgData name="Alex Powers" userId="ae4a1fc7-4395-46d3-b2f1-3b3c37036ad1" providerId="ADAL" clId="{6EDA56C6-6E90-4EDC-862A-743FE0A97AE9}" dt="2023-03-20T15:49:50.983" v="722"/>
        <pc:sldMkLst>
          <pc:docMk/>
          <pc:sldMk cId="2717912170" sldId="2134805387"/>
        </pc:sldMkLst>
      </pc:sldChg>
      <pc:sldChg chg="modTransition">
        <pc:chgData name="Alex Powers" userId="ae4a1fc7-4395-46d3-b2f1-3b3c37036ad1" providerId="ADAL" clId="{6EDA56C6-6E90-4EDC-862A-743FE0A97AE9}" dt="2023-03-20T15:47:36.499" v="690"/>
        <pc:sldMkLst>
          <pc:docMk/>
          <pc:sldMk cId="2427251673" sldId="2134805391"/>
        </pc:sldMkLst>
      </pc:sldChg>
      <pc:sldChg chg="modTransition">
        <pc:chgData name="Alex Powers" userId="ae4a1fc7-4395-46d3-b2f1-3b3c37036ad1" providerId="ADAL" clId="{6EDA56C6-6E90-4EDC-862A-743FE0A97AE9}" dt="2023-03-20T15:47:36.499" v="690"/>
        <pc:sldMkLst>
          <pc:docMk/>
          <pc:sldMk cId="1020451604" sldId="2134805392"/>
        </pc:sldMkLst>
      </pc:sldChg>
      <pc:sldChg chg="modTransition">
        <pc:chgData name="Alex Powers" userId="ae4a1fc7-4395-46d3-b2f1-3b3c37036ad1" providerId="ADAL" clId="{6EDA56C6-6E90-4EDC-862A-743FE0A97AE9}" dt="2023-03-20T15:47:36.499" v="690"/>
        <pc:sldMkLst>
          <pc:docMk/>
          <pc:sldMk cId="429528024" sldId="2134805393"/>
        </pc:sldMkLst>
      </pc:sldChg>
      <pc:sldChg chg="modTransition">
        <pc:chgData name="Alex Powers" userId="ae4a1fc7-4395-46d3-b2f1-3b3c37036ad1" providerId="ADAL" clId="{6EDA56C6-6E90-4EDC-862A-743FE0A97AE9}" dt="2023-03-20T15:47:36.499" v="690"/>
        <pc:sldMkLst>
          <pc:docMk/>
          <pc:sldMk cId="2008886511" sldId="2134805394"/>
        </pc:sldMkLst>
      </pc:sldChg>
      <pc:sldChg chg="modTransition">
        <pc:chgData name="Alex Powers" userId="ae4a1fc7-4395-46d3-b2f1-3b3c37036ad1" providerId="ADAL" clId="{6EDA56C6-6E90-4EDC-862A-743FE0A97AE9}" dt="2023-03-20T15:47:36.499" v="690"/>
        <pc:sldMkLst>
          <pc:docMk/>
          <pc:sldMk cId="2700429303" sldId="2134805395"/>
        </pc:sldMkLst>
      </pc:sldChg>
      <pc:sldChg chg="modTransition">
        <pc:chgData name="Alex Powers" userId="ae4a1fc7-4395-46d3-b2f1-3b3c37036ad1" providerId="ADAL" clId="{6EDA56C6-6E90-4EDC-862A-743FE0A97AE9}" dt="2023-03-20T15:47:36.499" v="690"/>
        <pc:sldMkLst>
          <pc:docMk/>
          <pc:sldMk cId="404217166" sldId="2134805396"/>
        </pc:sldMkLst>
      </pc:sldChg>
      <pc:sldChg chg="modTransition">
        <pc:chgData name="Alex Powers" userId="ae4a1fc7-4395-46d3-b2f1-3b3c37036ad1" providerId="ADAL" clId="{6EDA56C6-6E90-4EDC-862A-743FE0A97AE9}" dt="2023-03-20T15:47:36.499" v="690"/>
        <pc:sldMkLst>
          <pc:docMk/>
          <pc:sldMk cId="2809298019" sldId="2134805397"/>
        </pc:sldMkLst>
      </pc:sldChg>
      <pc:sldChg chg="modTransition">
        <pc:chgData name="Alex Powers" userId="ae4a1fc7-4395-46d3-b2f1-3b3c37036ad1" providerId="ADAL" clId="{6EDA56C6-6E90-4EDC-862A-743FE0A97AE9}" dt="2023-03-20T15:47:36.499" v="690"/>
        <pc:sldMkLst>
          <pc:docMk/>
          <pc:sldMk cId="2537869309" sldId="2134805398"/>
        </pc:sldMkLst>
      </pc:sldChg>
      <pc:sldChg chg="modSp mod">
        <pc:chgData name="Alex Powers" userId="ae4a1fc7-4395-46d3-b2f1-3b3c37036ad1" providerId="ADAL" clId="{6EDA56C6-6E90-4EDC-862A-743FE0A97AE9}" dt="2023-03-17T20:00:29.251" v="152" actId="20577"/>
        <pc:sldMkLst>
          <pc:docMk/>
          <pc:sldMk cId="1661102681" sldId="2134805399"/>
        </pc:sldMkLst>
        <pc:spChg chg="mod">
          <ac:chgData name="Alex Powers" userId="ae4a1fc7-4395-46d3-b2f1-3b3c37036ad1" providerId="ADAL" clId="{6EDA56C6-6E90-4EDC-862A-743FE0A97AE9}" dt="2023-03-17T20:00:29.251" v="152" actId="20577"/>
          <ac:spMkLst>
            <pc:docMk/>
            <pc:sldMk cId="1661102681" sldId="2134805399"/>
            <ac:spMk id="7" creationId="{B8369A30-A814-46DD-ABF0-B1D8C1BF2832}"/>
          </ac:spMkLst>
        </pc:spChg>
      </pc:sldChg>
      <pc:sldChg chg="modTransition">
        <pc:chgData name="Alex Powers" userId="ae4a1fc7-4395-46d3-b2f1-3b3c37036ad1" providerId="ADAL" clId="{6EDA56C6-6E90-4EDC-862A-743FE0A97AE9}" dt="2023-03-20T15:47:36.499" v="690"/>
        <pc:sldMkLst>
          <pc:docMk/>
          <pc:sldMk cId="4000838230" sldId="2134805400"/>
        </pc:sldMkLst>
      </pc:sldChg>
      <pc:sldChg chg="modTransition">
        <pc:chgData name="Alex Powers" userId="ae4a1fc7-4395-46d3-b2f1-3b3c37036ad1" providerId="ADAL" clId="{6EDA56C6-6E90-4EDC-862A-743FE0A97AE9}" dt="2023-03-20T15:47:36.499" v="690"/>
        <pc:sldMkLst>
          <pc:docMk/>
          <pc:sldMk cId="2631673961" sldId="2134805401"/>
        </pc:sldMkLst>
      </pc:sldChg>
      <pc:sldChg chg="modTransition">
        <pc:chgData name="Alex Powers" userId="ae4a1fc7-4395-46d3-b2f1-3b3c37036ad1" providerId="ADAL" clId="{6EDA56C6-6E90-4EDC-862A-743FE0A97AE9}" dt="2023-03-20T15:47:36.499" v="690"/>
        <pc:sldMkLst>
          <pc:docMk/>
          <pc:sldMk cId="1954379322" sldId="2134805414"/>
        </pc:sldMkLst>
      </pc:sldChg>
      <pc:sldChg chg="modTransition">
        <pc:chgData name="Alex Powers" userId="ae4a1fc7-4395-46d3-b2f1-3b3c37036ad1" providerId="ADAL" clId="{6EDA56C6-6E90-4EDC-862A-743FE0A97AE9}" dt="2023-03-20T15:47:36.499" v="690"/>
        <pc:sldMkLst>
          <pc:docMk/>
          <pc:sldMk cId="2085900357" sldId="2134805415"/>
        </pc:sldMkLst>
      </pc:sldChg>
      <pc:sldChg chg="modTransition">
        <pc:chgData name="Alex Powers" userId="ae4a1fc7-4395-46d3-b2f1-3b3c37036ad1" providerId="ADAL" clId="{6EDA56C6-6E90-4EDC-862A-743FE0A97AE9}" dt="2023-03-20T15:47:36.499" v="690"/>
        <pc:sldMkLst>
          <pc:docMk/>
          <pc:sldMk cId="1967932663" sldId="2134805416"/>
        </pc:sldMkLst>
      </pc:sldChg>
      <pc:sldChg chg="modTransition">
        <pc:chgData name="Alex Powers" userId="ae4a1fc7-4395-46d3-b2f1-3b3c37036ad1" providerId="ADAL" clId="{6EDA56C6-6E90-4EDC-862A-743FE0A97AE9}" dt="2023-03-20T15:47:36.499" v="690"/>
        <pc:sldMkLst>
          <pc:docMk/>
          <pc:sldMk cId="1437533566" sldId="2134805417"/>
        </pc:sldMkLst>
      </pc:sldChg>
      <pc:sldChg chg="modTransition">
        <pc:chgData name="Alex Powers" userId="ae4a1fc7-4395-46d3-b2f1-3b3c37036ad1" providerId="ADAL" clId="{6EDA56C6-6E90-4EDC-862A-743FE0A97AE9}" dt="2023-03-20T15:47:36.499" v="690"/>
        <pc:sldMkLst>
          <pc:docMk/>
          <pc:sldMk cId="1786439638" sldId="2134805418"/>
        </pc:sldMkLst>
      </pc:sldChg>
      <pc:sldChg chg="modTransition">
        <pc:chgData name="Alex Powers" userId="ae4a1fc7-4395-46d3-b2f1-3b3c37036ad1" providerId="ADAL" clId="{6EDA56C6-6E90-4EDC-862A-743FE0A97AE9}" dt="2023-03-20T15:47:36.499" v="690"/>
        <pc:sldMkLst>
          <pc:docMk/>
          <pc:sldMk cId="3445963962" sldId="2134805419"/>
        </pc:sldMkLst>
      </pc:sldChg>
      <pc:sldChg chg="modTransition">
        <pc:chgData name="Alex Powers" userId="ae4a1fc7-4395-46d3-b2f1-3b3c37036ad1" providerId="ADAL" clId="{6EDA56C6-6E90-4EDC-862A-743FE0A97AE9}" dt="2023-03-20T15:47:36.499" v="690"/>
        <pc:sldMkLst>
          <pc:docMk/>
          <pc:sldMk cId="3336729087" sldId="2134805420"/>
        </pc:sldMkLst>
      </pc:sldChg>
      <pc:sldChg chg="modTransition">
        <pc:chgData name="Alex Powers" userId="ae4a1fc7-4395-46d3-b2f1-3b3c37036ad1" providerId="ADAL" clId="{6EDA56C6-6E90-4EDC-862A-743FE0A97AE9}" dt="2023-03-20T15:47:36.499" v="690"/>
        <pc:sldMkLst>
          <pc:docMk/>
          <pc:sldMk cId="1764244479" sldId="2134805421"/>
        </pc:sldMkLst>
      </pc:sldChg>
      <pc:sldChg chg="modTransition">
        <pc:chgData name="Alex Powers" userId="ae4a1fc7-4395-46d3-b2f1-3b3c37036ad1" providerId="ADAL" clId="{6EDA56C6-6E90-4EDC-862A-743FE0A97AE9}" dt="2023-03-20T15:47:36.499" v="690"/>
        <pc:sldMkLst>
          <pc:docMk/>
          <pc:sldMk cId="865107073" sldId="2134805431"/>
        </pc:sldMkLst>
      </pc:sldChg>
      <pc:sldChg chg="modTransition">
        <pc:chgData name="Alex Powers" userId="ae4a1fc7-4395-46d3-b2f1-3b3c37036ad1" providerId="ADAL" clId="{6EDA56C6-6E90-4EDC-862A-743FE0A97AE9}" dt="2023-03-20T15:47:36.499" v="690"/>
        <pc:sldMkLst>
          <pc:docMk/>
          <pc:sldMk cId="1447329896" sldId="2134805434"/>
        </pc:sldMkLst>
      </pc:sldChg>
      <pc:sldChg chg="modTransition">
        <pc:chgData name="Alex Powers" userId="ae4a1fc7-4395-46d3-b2f1-3b3c37036ad1" providerId="ADAL" clId="{6EDA56C6-6E90-4EDC-862A-743FE0A97AE9}" dt="2023-03-20T15:47:36.499" v="690"/>
        <pc:sldMkLst>
          <pc:docMk/>
          <pc:sldMk cId="3555961925" sldId="2134805436"/>
        </pc:sldMkLst>
      </pc:sldChg>
      <pc:sldChg chg="modTransition">
        <pc:chgData name="Alex Powers" userId="ae4a1fc7-4395-46d3-b2f1-3b3c37036ad1" providerId="ADAL" clId="{6EDA56C6-6E90-4EDC-862A-743FE0A97AE9}" dt="2023-03-20T15:47:36.499" v="690"/>
        <pc:sldMkLst>
          <pc:docMk/>
          <pc:sldMk cId="3355017808" sldId="2134805437"/>
        </pc:sldMkLst>
      </pc:sldChg>
      <pc:sldChg chg="modTransition">
        <pc:chgData name="Alex Powers" userId="ae4a1fc7-4395-46d3-b2f1-3b3c37036ad1" providerId="ADAL" clId="{6EDA56C6-6E90-4EDC-862A-743FE0A97AE9}" dt="2023-03-20T15:47:36.499" v="690"/>
        <pc:sldMkLst>
          <pc:docMk/>
          <pc:sldMk cId="3126994866" sldId="2134805438"/>
        </pc:sldMkLst>
      </pc:sldChg>
      <pc:sldChg chg="modTransition">
        <pc:chgData name="Alex Powers" userId="ae4a1fc7-4395-46d3-b2f1-3b3c37036ad1" providerId="ADAL" clId="{6EDA56C6-6E90-4EDC-862A-743FE0A97AE9}" dt="2023-03-20T15:47:36.499" v="690"/>
        <pc:sldMkLst>
          <pc:docMk/>
          <pc:sldMk cId="1875689356" sldId="2134805439"/>
        </pc:sldMkLst>
      </pc:sldChg>
      <pc:sldChg chg="modTransition">
        <pc:chgData name="Alex Powers" userId="ae4a1fc7-4395-46d3-b2f1-3b3c37036ad1" providerId="ADAL" clId="{6EDA56C6-6E90-4EDC-862A-743FE0A97AE9}" dt="2023-03-20T15:47:36.499" v="690"/>
        <pc:sldMkLst>
          <pc:docMk/>
          <pc:sldMk cId="252357223" sldId="2134805440"/>
        </pc:sldMkLst>
      </pc:sldChg>
      <pc:sldChg chg="modTransition">
        <pc:chgData name="Alex Powers" userId="ae4a1fc7-4395-46d3-b2f1-3b3c37036ad1" providerId="ADAL" clId="{6EDA56C6-6E90-4EDC-862A-743FE0A97AE9}" dt="2023-03-20T15:47:36.499" v="690"/>
        <pc:sldMkLst>
          <pc:docMk/>
          <pc:sldMk cId="188611118" sldId="2134805441"/>
        </pc:sldMkLst>
      </pc:sldChg>
      <pc:sldChg chg="modTransition">
        <pc:chgData name="Alex Powers" userId="ae4a1fc7-4395-46d3-b2f1-3b3c37036ad1" providerId="ADAL" clId="{6EDA56C6-6E90-4EDC-862A-743FE0A97AE9}" dt="2023-03-20T15:47:36.499" v="690"/>
        <pc:sldMkLst>
          <pc:docMk/>
          <pc:sldMk cId="2918814522" sldId="2134805442"/>
        </pc:sldMkLst>
      </pc:sldChg>
      <pc:sldChg chg="modTransition">
        <pc:chgData name="Alex Powers" userId="ae4a1fc7-4395-46d3-b2f1-3b3c37036ad1" providerId="ADAL" clId="{6EDA56C6-6E90-4EDC-862A-743FE0A97AE9}" dt="2023-03-20T15:47:36.499" v="690"/>
        <pc:sldMkLst>
          <pc:docMk/>
          <pc:sldMk cId="697804203" sldId="2134805445"/>
        </pc:sldMkLst>
      </pc:sldChg>
      <pc:sldChg chg="modTransition">
        <pc:chgData name="Alex Powers" userId="ae4a1fc7-4395-46d3-b2f1-3b3c37036ad1" providerId="ADAL" clId="{6EDA56C6-6E90-4EDC-862A-743FE0A97AE9}" dt="2023-03-20T15:47:36.499" v="690"/>
        <pc:sldMkLst>
          <pc:docMk/>
          <pc:sldMk cId="113089927" sldId="2134805457"/>
        </pc:sldMkLst>
      </pc:sldChg>
      <pc:sldChg chg="modTransition">
        <pc:chgData name="Alex Powers" userId="ae4a1fc7-4395-46d3-b2f1-3b3c37036ad1" providerId="ADAL" clId="{6EDA56C6-6E90-4EDC-862A-743FE0A97AE9}" dt="2023-03-20T15:47:36.499" v="690"/>
        <pc:sldMkLst>
          <pc:docMk/>
          <pc:sldMk cId="679191079" sldId="2134805471"/>
        </pc:sldMkLst>
      </pc:sldChg>
      <pc:sldChg chg="modTransition">
        <pc:chgData name="Alex Powers" userId="ae4a1fc7-4395-46d3-b2f1-3b3c37036ad1" providerId="ADAL" clId="{6EDA56C6-6E90-4EDC-862A-743FE0A97AE9}" dt="2023-03-20T15:47:36.499" v="690"/>
        <pc:sldMkLst>
          <pc:docMk/>
          <pc:sldMk cId="1494664179" sldId="2134805473"/>
        </pc:sldMkLst>
      </pc:sldChg>
      <pc:sldChg chg="modTransition">
        <pc:chgData name="Alex Powers" userId="ae4a1fc7-4395-46d3-b2f1-3b3c37036ad1" providerId="ADAL" clId="{6EDA56C6-6E90-4EDC-862A-743FE0A97AE9}" dt="2023-03-20T15:47:36.499" v="690"/>
        <pc:sldMkLst>
          <pc:docMk/>
          <pc:sldMk cId="3447445929" sldId="2134805475"/>
        </pc:sldMkLst>
      </pc:sldChg>
      <pc:sldChg chg="modTransition">
        <pc:chgData name="Alex Powers" userId="ae4a1fc7-4395-46d3-b2f1-3b3c37036ad1" providerId="ADAL" clId="{6EDA56C6-6E90-4EDC-862A-743FE0A97AE9}" dt="2023-03-20T15:47:36.499" v="690"/>
        <pc:sldMkLst>
          <pc:docMk/>
          <pc:sldMk cId="2782444101" sldId="2134805477"/>
        </pc:sldMkLst>
      </pc:sldChg>
      <pc:sldChg chg="modTransition">
        <pc:chgData name="Alex Powers" userId="ae4a1fc7-4395-46d3-b2f1-3b3c37036ad1" providerId="ADAL" clId="{6EDA56C6-6E90-4EDC-862A-743FE0A97AE9}" dt="2023-03-20T15:47:36.499" v="690"/>
        <pc:sldMkLst>
          <pc:docMk/>
          <pc:sldMk cId="38038148" sldId="2134805478"/>
        </pc:sldMkLst>
      </pc:sldChg>
      <pc:sldChg chg="modTransition">
        <pc:chgData name="Alex Powers" userId="ae4a1fc7-4395-46d3-b2f1-3b3c37036ad1" providerId="ADAL" clId="{6EDA56C6-6E90-4EDC-862A-743FE0A97AE9}" dt="2023-03-20T15:47:36.499" v="690"/>
        <pc:sldMkLst>
          <pc:docMk/>
          <pc:sldMk cId="1402513152" sldId="2134805479"/>
        </pc:sldMkLst>
      </pc:sldChg>
      <pc:sldChg chg="modTransition">
        <pc:chgData name="Alex Powers" userId="ae4a1fc7-4395-46d3-b2f1-3b3c37036ad1" providerId="ADAL" clId="{6EDA56C6-6E90-4EDC-862A-743FE0A97AE9}" dt="2023-03-20T15:47:36.499" v="690"/>
        <pc:sldMkLst>
          <pc:docMk/>
          <pc:sldMk cId="1633839032" sldId="2134805481"/>
        </pc:sldMkLst>
      </pc:sldChg>
      <pc:sldChg chg="modTransition">
        <pc:chgData name="Alex Powers" userId="ae4a1fc7-4395-46d3-b2f1-3b3c37036ad1" providerId="ADAL" clId="{6EDA56C6-6E90-4EDC-862A-743FE0A97AE9}" dt="2023-03-20T15:47:36.499" v="690"/>
        <pc:sldMkLst>
          <pc:docMk/>
          <pc:sldMk cId="3698640117" sldId="2134805482"/>
        </pc:sldMkLst>
      </pc:sldChg>
      <pc:sldChg chg="modTransition">
        <pc:chgData name="Alex Powers" userId="ae4a1fc7-4395-46d3-b2f1-3b3c37036ad1" providerId="ADAL" clId="{6EDA56C6-6E90-4EDC-862A-743FE0A97AE9}" dt="2023-03-20T15:47:36.499" v="690"/>
        <pc:sldMkLst>
          <pc:docMk/>
          <pc:sldMk cId="516345054" sldId="2134805483"/>
        </pc:sldMkLst>
      </pc:sldChg>
      <pc:sldChg chg="modTransition">
        <pc:chgData name="Alex Powers" userId="ae4a1fc7-4395-46d3-b2f1-3b3c37036ad1" providerId="ADAL" clId="{6EDA56C6-6E90-4EDC-862A-743FE0A97AE9}" dt="2023-03-20T15:47:36.499" v="690"/>
        <pc:sldMkLst>
          <pc:docMk/>
          <pc:sldMk cId="3735077586" sldId="2134805484"/>
        </pc:sldMkLst>
      </pc:sldChg>
      <pc:sldChg chg="modTransition">
        <pc:chgData name="Alex Powers" userId="ae4a1fc7-4395-46d3-b2f1-3b3c37036ad1" providerId="ADAL" clId="{6EDA56C6-6E90-4EDC-862A-743FE0A97AE9}" dt="2023-03-20T15:47:36.499" v="690"/>
        <pc:sldMkLst>
          <pc:docMk/>
          <pc:sldMk cId="2300179727" sldId="2134805495"/>
        </pc:sldMkLst>
      </pc:sldChg>
      <pc:sldChg chg="modTransition">
        <pc:chgData name="Alex Powers" userId="ae4a1fc7-4395-46d3-b2f1-3b3c37036ad1" providerId="ADAL" clId="{6EDA56C6-6E90-4EDC-862A-743FE0A97AE9}" dt="2023-03-20T15:47:36.499" v="690"/>
        <pc:sldMkLst>
          <pc:docMk/>
          <pc:sldMk cId="2443659364" sldId="2134805496"/>
        </pc:sldMkLst>
      </pc:sldChg>
      <pc:sldChg chg="modTransition">
        <pc:chgData name="Alex Powers" userId="ae4a1fc7-4395-46d3-b2f1-3b3c37036ad1" providerId="ADAL" clId="{6EDA56C6-6E90-4EDC-862A-743FE0A97AE9}" dt="2023-03-20T15:47:36.499" v="690"/>
        <pc:sldMkLst>
          <pc:docMk/>
          <pc:sldMk cId="4250888975" sldId="2134805497"/>
        </pc:sldMkLst>
      </pc:sldChg>
      <pc:sldChg chg="modTransition">
        <pc:chgData name="Alex Powers" userId="ae4a1fc7-4395-46d3-b2f1-3b3c37036ad1" providerId="ADAL" clId="{6EDA56C6-6E90-4EDC-862A-743FE0A97AE9}" dt="2023-03-20T15:47:36.499" v="690"/>
        <pc:sldMkLst>
          <pc:docMk/>
          <pc:sldMk cId="2814063903" sldId="2134805498"/>
        </pc:sldMkLst>
      </pc:sldChg>
      <pc:sldChg chg="modTransition">
        <pc:chgData name="Alex Powers" userId="ae4a1fc7-4395-46d3-b2f1-3b3c37036ad1" providerId="ADAL" clId="{6EDA56C6-6E90-4EDC-862A-743FE0A97AE9}" dt="2023-03-20T15:47:36.499" v="690"/>
        <pc:sldMkLst>
          <pc:docMk/>
          <pc:sldMk cId="3746690244" sldId="2134805499"/>
        </pc:sldMkLst>
      </pc:sldChg>
      <pc:sldChg chg="modTransition">
        <pc:chgData name="Alex Powers" userId="ae4a1fc7-4395-46d3-b2f1-3b3c37036ad1" providerId="ADAL" clId="{6EDA56C6-6E90-4EDC-862A-743FE0A97AE9}" dt="2023-03-20T15:47:36.499" v="690"/>
        <pc:sldMkLst>
          <pc:docMk/>
          <pc:sldMk cId="3894753594" sldId="2134805500"/>
        </pc:sldMkLst>
      </pc:sldChg>
      <pc:sldChg chg="modTransition">
        <pc:chgData name="Alex Powers" userId="ae4a1fc7-4395-46d3-b2f1-3b3c37036ad1" providerId="ADAL" clId="{6EDA56C6-6E90-4EDC-862A-743FE0A97AE9}" dt="2023-03-20T15:47:36.499" v="690"/>
        <pc:sldMkLst>
          <pc:docMk/>
          <pc:sldMk cId="3794170958" sldId="2134805501"/>
        </pc:sldMkLst>
      </pc:sldChg>
      <pc:sldChg chg="modTransition">
        <pc:chgData name="Alex Powers" userId="ae4a1fc7-4395-46d3-b2f1-3b3c37036ad1" providerId="ADAL" clId="{6EDA56C6-6E90-4EDC-862A-743FE0A97AE9}" dt="2023-03-20T15:47:36.499" v="690"/>
        <pc:sldMkLst>
          <pc:docMk/>
          <pc:sldMk cId="4206370663" sldId="2147469889"/>
        </pc:sldMkLst>
      </pc:sldChg>
      <pc:sldChg chg="modTransition">
        <pc:chgData name="Alex Powers" userId="ae4a1fc7-4395-46d3-b2f1-3b3c37036ad1" providerId="ADAL" clId="{6EDA56C6-6E90-4EDC-862A-743FE0A97AE9}" dt="2023-03-20T15:47:36.499" v="690"/>
        <pc:sldMkLst>
          <pc:docMk/>
          <pc:sldMk cId="4182371444" sldId="2147469890"/>
        </pc:sldMkLst>
      </pc:sldChg>
      <pc:sldChg chg="addSp delSp modSp mod modTransition delAnim modAnim">
        <pc:chgData name="Alex Powers" userId="ae4a1fc7-4395-46d3-b2f1-3b3c37036ad1" providerId="ADAL" clId="{6EDA56C6-6E90-4EDC-862A-743FE0A97AE9}" dt="2023-03-20T15:47:36.499" v="690"/>
        <pc:sldMkLst>
          <pc:docMk/>
          <pc:sldMk cId="1994094466" sldId="2147469891"/>
        </pc:sldMkLst>
        <pc:grpChg chg="del">
          <ac:chgData name="Alex Powers" userId="ae4a1fc7-4395-46d3-b2f1-3b3c37036ad1" providerId="ADAL" clId="{6EDA56C6-6E90-4EDC-862A-743FE0A97AE9}" dt="2023-03-20T15:33:19.626" v="586" actId="478"/>
          <ac:grpSpMkLst>
            <pc:docMk/>
            <pc:sldMk cId="1994094466" sldId="2147469891"/>
            <ac:grpSpMk id="16" creationId="{FD06D0D0-CC94-4294-854A-44A5F34BBC59}"/>
          </ac:grpSpMkLst>
        </pc:grpChg>
        <pc:graphicFrameChg chg="add mod modGraphic">
          <ac:chgData name="Alex Powers" userId="ae4a1fc7-4395-46d3-b2f1-3b3c37036ad1" providerId="ADAL" clId="{6EDA56C6-6E90-4EDC-862A-743FE0A97AE9}" dt="2023-03-20T15:43:52.791" v="667" actId="1076"/>
          <ac:graphicFrameMkLst>
            <pc:docMk/>
            <pc:sldMk cId="1994094466" sldId="2147469891"/>
            <ac:graphicFrameMk id="3" creationId="{305ED987-18B8-B4D2-CE96-EE03D99805E5}"/>
          </ac:graphicFrameMkLst>
        </pc:graphicFrameChg>
      </pc:sldChg>
      <pc:sldChg chg="modTransition">
        <pc:chgData name="Alex Powers" userId="ae4a1fc7-4395-46d3-b2f1-3b3c37036ad1" providerId="ADAL" clId="{6EDA56C6-6E90-4EDC-862A-743FE0A97AE9}" dt="2023-03-20T15:47:36.499" v="690"/>
        <pc:sldMkLst>
          <pc:docMk/>
          <pc:sldMk cId="2701077020" sldId="2147469893"/>
        </pc:sldMkLst>
      </pc:sldChg>
      <pc:sldChg chg="del mod modTransition modShow">
        <pc:chgData name="Alex Powers" userId="ae4a1fc7-4395-46d3-b2f1-3b3c37036ad1" providerId="ADAL" clId="{6EDA56C6-6E90-4EDC-862A-743FE0A97AE9}" dt="2023-03-20T15:49:39.588" v="721" actId="2696"/>
        <pc:sldMkLst>
          <pc:docMk/>
          <pc:sldMk cId="2170934217" sldId="2147469898"/>
        </pc:sldMkLst>
      </pc:sldChg>
      <pc:sldChg chg="add">
        <pc:chgData name="Alex Powers" userId="ae4a1fc7-4395-46d3-b2f1-3b3c37036ad1" providerId="ADAL" clId="{6EDA56C6-6E90-4EDC-862A-743FE0A97AE9}" dt="2023-03-20T15:49:50.983" v="722"/>
        <pc:sldMkLst>
          <pc:docMk/>
          <pc:sldMk cId="4009663776" sldId="2147469898"/>
        </pc:sldMkLst>
      </pc:sldChg>
      <pc:sldChg chg="modTransition">
        <pc:chgData name="Alex Powers" userId="ae4a1fc7-4395-46d3-b2f1-3b3c37036ad1" providerId="ADAL" clId="{6EDA56C6-6E90-4EDC-862A-743FE0A97AE9}" dt="2023-03-20T15:47:36.499" v="690"/>
        <pc:sldMkLst>
          <pc:docMk/>
          <pc:sldMk cId="2841521012" sldId="2147469900"/>
        </pc:sldMkLst>
      </pc:sldChg>
      <pc:sldChg chg="modTransition">
        <pc:chgData name="Alex Powers" userId="ae4a1fc7-4395-46d3-b2f1-3b3c37036ad1" providerId="ADAL" clId="{6EDA56C6-6E90-4EDC-862A-743FE0A97AE9}" dt="2023-03-20T15:47:36.499" v="690"/>
        <pc:sldMkLst>
          <pc:docMk/>
          <pc:sldMk cId="712941580" sldId="2147469902"/>
        </pc:sldMkLst>
      </pc:sldChg>
      <pc:sldChg chg="modTransition">
        <pc:chgData name="Alex Powers" userId="ae4a1fc7-4395-46d3-b2f1-3b3c37036ad1" providerId="ADAL" clId="{6EDA56C6-6E90-4EDC-862A-743FE0A97AE9}" dt="2023-03-20T15:47:36.499" v="690"/>
        <pc:sldMkLst>
          <pc:docMk/>
          <pc:sldMk cId="1496469467" sldId="2147469903"/>
        </pc:sldMkLst>
      </pc:sldChg>
      <pc:sldChg chg="modTransition">
        <pc:chgData name="Alex Powers" userId="ae4a1fc7-4395-46d3-b2f1-3b3c37036ad1" providerId="ADAL" clId="{6EDA56C6-6E90-4EDC-862A-743FE0A97AE9}" dt="2023-03-20T15:47:36.499" v="690"/>
        <pc:sldMkLst>
          <pc:docMk/>
          <pc:sldMk cId="3780904034" sldId="2147469904"/>
        </pc:sldMkLst>
      </pc:sldChg>
      <pc:sldChg chg="del">
        <pc:chgData name="Alex Powers" userId="ae4a1fc7-4395-46d3-b2f1-3b3c37036ad1" providerId="ADAL" clId="{6EDA56C6-6E90-4EDC-862A-743FE0A97AE9}" dt="2023-03-17T19:57:26.332" v="33" actId="2696"/>
        <pc:sldMkLst>
          <pc:docMk/>
          <pc:sldMk cId="3668029706" sldId="2147469924"/>
        </pc:sldMkLst>
      </pc:sldChg>
      <pc:sldChg chg="add modTransition">
        <pc:chgData name="Alex Powers" userId="ae4a1fc7-4395-46d3-b2f1-3b3c37036ad1" providerId="ADAL" clId="{6EDA56C6-6E90-4EDC-862A-743FE0A97AE9}" dt="2023-03-20T15:47:36.499" v="690"/>
        <pc:sldMkLst>
          <pc:docMk/>
          <pc:sldMk cId="3911917727" sldId="2147469924"/>
        </pc:sldMkLst>
      </pc:sldChg>
      <pc:sldChg chg="modTransition">
        <pc:chgData name="Alex Powers" userId="ae4a1fc7-4395-46d3-b2f1-3b3c37036ad1" providerId="ADAL" clId="{6EDA56C6-6E90-4EDC-862A-743FE0A97AE9}" dt="2023-03-20T15:47:36.499" v="690"/>
        <pc:sldMkLst>
          <pc:docMk/>
          <pc:sldMk cId="2112540459" sldId="2147469925"/>
        </pc:sldMkLst>
      </pc:sldChg>
      <pc:sldChg chg="del">
        <pc:chgData name="Alex Powers" userId="ae4a1fc7-4395-46d3-b2f1-3b3c37036ad1" providerId="ADAL" clId="{6EDA56C6-6E90-4EDC-862A-743FE0A97AE9}" dt="2023-03-17T19:57:26.332" v="33" actId="2696"/>
        <pc:sldMkLst>
          <pc:docMk/>
          <pc:sldMk cId="227054782" sldId="2147469926"/>
        </pc:sldMkLst>
      </pc:sldChg>
      <pc:sldChg chg="add modTransition">
        <pc:chgData name="Alex Powers" userId="ae4a1fc7-4395-46d3-b2f1-3b3c37036ad1" providerId="ADAL" clId="{6EDA56C6-6E90-4EDC-862A-743FE0A97AE9}" dt="2023-03-20T15:47:36.499" v="690"/>
        <pc:sldMkLst>
          <pc:docMk/>
          <pc:sldMk cId="3701203430" sldId="2147469926"/>
        </pc:sldMkLst>
      </pc:sldChg>
      <pc:sldChg chg="del">
        <pc:chgData name="Alex Powers" userId="ae4a1fc7-4395-46d3-b2f1-3b3c37036ad1" providerId="ADAL" clId="{6EDA56C6-6E90-4EDC-862A-743FE0A97AE9}" dt="2023-03-17T19:57:26.332" v="33" actId="2696"/>
        <pc:sldMkLst>
          <pc:docMk/>
          <pc:sldMk cId="1325742945" sldId="2147469928"/>
        </pc:sldMkLst>
      </pc:sldChg>
      <pc:sldChg chg="add modTransition">
        <pc:chgData name="Alex Powers" userId="ae4a1fc7-4395-46d3-b2f1-3b3c37036ad1" providerId="ADAL" clId="{6EDA56C6-6E90-4EDC-862A-743FE0A97AE9}" dt="2023-03-20T15:47:36.499" v="690"/>
        <pc:sldMkLst>
          <pc:docMk/>
          <pc:sldMk cId="3713819363" sldId="2147469928"/>
        </pc:sldMkLst>
      </pc:sldChg>
      <pc:sldChg chg="add modTransition">
        <pc:chgData name="Alex Powers" userId="ae4a1fc7-4395-46d3-b2f1-3b3c37036ad1" providerId="ADAL" clId="{6EDA56C6-6E90-4EDC-862A-743FE0A97AE9}" dt="2023-03-20T15:47:36.499" v="690"/>
        <pc:sldMkLst>
          <pc:docMk/>
          <pc:sldMk cId="1424956820" sldId="2147469929"/>
        </pc:sldMkLst>
      </pc:sldChg>
      <pc:sldChg chg="del">
        <pc:chgData name="Alex Powers" userId="ae4a1fc7-4395-46d3-b2f1-3b3c37036ad1" providerId="ADAL" clId="{6EDA56C6-6E90-4EDC-862A-743FE0A97AE9}" dt="2023-03-17T19:57:26.332" v="33" actId="2696"/>
        <pc:sldMkLst>
          <pc:docMk/>
          <pc:sldMk cId="2126424020" sldId="2147469929"/>
        </pc:sldMkLst>
      </pc:sldChg>
      <pc:sldChg chg="add modTransition">
        <pc:chgData name="Alex Powers" userId="ae4a1fc7-4395-46d3-b2f1-3b3c37036ad1" providerId="ADAL" clId="{6EDA56C6-6E90-4EDC-862A-743FE0A97AE9}" dt="2023-03-20T15:47:36.499" v="690"/>
        <pc:sldMkLst>
          <pc:docMk/>
          <pc:sldMk cId="798427876" sldId="2147469933"/>
        </pc:sldMkLst>
      </pc:sldChg>
      <pc:sldChg chg="del">
        <pc:chgData name="Alex Powers" userId="ae4a1fc7-4395-46d3-b2f1-3b3c37036ad1" providerId="ADAL" clId="{6EDA56C6-6E90-4EDC-862A-743FE0A97AE9}" dt="2023-03-17T19:57:26.332" v="33" actId="2696"/>
        <pc:sldMkLst>
          <pc:docMk/>
          <pc:sldMk cId="1088865837" sldId="2147469933"/>
        </pc:sldMkLst>
      </pc:sldChg>
      <pc:sldChg chg="del">
        <pc:chgData name="Alex Powers" userId="ae4a1fc7-4395-46d3-b2f1-3b3c37036ad1" providerId="ADAL" clId="{6EDA56C6-6E90-4EDC-862A-743FE0A97AE9}" dt="2023-03-17T19:57:26.332" v="33" actId="2696"/>
        <pc:sldMkLst>
          <pc:docMk/>
          <pc:sldMk cId="1267878795" sldId="2147469935"/>
        </pc:sldMkLst>
      </pc:sldChg>
      <pc:sldChg chg="add modTransition">
        <pc:chgData name="Alex Powers" userId="ae4a1fc7-4395-46d3-b2f1-3b3c37036ad1" providerId="ADAL" clId="{6EDA56C6-6E90-4EDC-862A-743FE0A97AE9}" dt="2023-03-20T15:47:36.499" v="690"/>
        <pc:sldMkLst>
          <pc:docMk/>
          <pc:sldMk cId="4139346800" sldId="2147469935"/>
        </pc:sldMkLst>
      </pc:sldChg>
      <pc:sldChg chg="add modTransition">
        <pc:chgData name="Alex Powers" userId="ae4a1fc7-4395-46d3-b2f1-3b3c37036ad1" providerId="ADAL" clId="{6EDA56C6-6E90-4EDC-862A-743FE0A97AE9}" dt="2023-03-20T15:47:36.499" v="690"/>
        <pc:sldMkLst>
          <pc:docMk/>
          <pc:sldMk cId="875395235" sldId="2147469938"/>
        </pc:sldMkLst>
      </pc:sldChg>
      <pc:sldChg chg="del">
        <pc:chgData name="Alex Powers" userId="ae4a1fc7-4395-46d3-b2f1-3b3c37036ad1" providerId="ADAL" clId="{6EDA56C6-6E90-4EDC-862A-743FE0A97AE9}" dt="2023-03-17T19:57:26.332" v="33" actId="2696"/>
        <pc:sldMkLst>
          <pc:docMk/>
          <pc:sldMk cId="1523162095" sldId="2147469938"/>
        </pc:sldMkLst>
      </pc:sldChg>
      <pc:sldChg chg="del">
        <pc:chgData name="Alex Powers" userId="ae4a1fc7-4395-46d3-b2f1-3b3c37036ad1" providerId="ADAL" clId="{6EDA56C6-6E90-4EDC-862A-743FE0A97AE9}" dt="2023-03-17T19:57:26.332" v="33" actId="2696"/>
        <pc:sldMkLst>
          <pc:docMk/>
          <pc:sldMk cId="828245894" sldId="2147469939"/>
        </pc:sldMkLst>
      </pc:sldChg>
      <pc:sldChg chg="add modTransition">
        <pc:chgData name="Alex Powers" userId="ae4a1fc7-4395-46d3-b2f1-3b3c37036ad1" providerId="ADAL" clId="{6EDA56C6-6E90-4EDC-862A-743FE0A97AE9}" dt="2023-03-20T15:47:36.499" v="690"/>
        <pc:sldMkLst>
          <pc:docMk/>
          <pc:sldMk cId="3611131423" sldId="2147469939"/>
        </pc:sldMkLst>
      </pc:sldChg>
      <pc:sldChg chg="add modTransition">
        <pc:chgData name="Alex Powers" userId="ae4a1fc7-4395-46d3-b2f1-3b3c37036ad1" providerId="ADAL" clId="{6EDA56C6-6E90-4EDC-862A-743FE0A97AE9}" dt="2023-03-20T15:47:36.499" v="690"/>
        <pc:sldMkLst>
          <pc:docMk/>
          <pc:sldMk cId="50577215" sldId="2147469940"/>
        </pc:sldMkLst>
      </pc:sldChg>
      <pc:sldChg chg="del">
        <pc:chgData name="Alex Powers" userId="ae4a1fc7-4395-46d3-b2f1-3b3c37036ad1" providerId="ADAL" clId="{6EDA56C6-6E90-4EDC-862A-743FE0A97AE9}" dt="2023-03-17T19:57:26.332" v="33" actId="2696"/>
        <pc:sldMkLst>
          <pc:docMk/>
          <pc:sldMk cId="3376837703" sldId="2147469940"/>
        </pc:sldMkLst>
      </pc:sldChg>
      <pc:sldChg chg="del">
        <pc:chgData name="Alex Powers" userId="ae4a1fc7-4395-46d3-b2f1-3b3c37036ad1" providerId="ADAL" clId="{6EDA56C6-6E90-4EDC-862A-743FE0A97AE9}" dt="2023-03-17T19:57:26.332" v="33" actId="2696"/>
        <pc:sldMkLst>
          <pc:docMk/>
          <pc:sldMk cId="282525141" sldId="2147469941"/>
        </pc:sldMkLst>
      </pc:sldChg>
      <pc:sldChg chg="add modTransition">
        <pc:chgData name="Alex Powers" userId="ae4a1fc7-4395-46d3-b2f1-3b3c37036ad1" providerId="ADAL" clId="{6EDA56C6-6E90-4EDC-862A-743FE0A97AE9}" dt="2023-03-20T15:47:36.499" v="690"/>
        <pc:sldMkLst>
          <pc:docMk/>
          <pc:sldMk cId="765875169" sldId="2147469941"/>
        </pc:sldMkLst>
      </pc:sldChg>
      <pc:sldChg chg="del">
        <pc:chgData name="Alex Powers" userId="ae4a1fc7-4395-46d3-b2f1-3b3c37036ad1" providerId="ADAL" clId="{6EDA56C6-6E90-4EDC-862A-743FE0A97AE9}" dt="2023-03-17T19:57:26.332" v="33" actId="2696"/>
        <pc:sldMkLst>
          <pc:docMk/>
          <pc:sldMk cId="2768878279" sldId="2147469942"/>
        </pc:sldMkLst>
      </pc:sldChg>
      <pc:sldChg chg="add modTransition">
        <pc:chgData name="Alex Powers" userId="ae4a1fc7-4395-46d3-b2f1-3b3c37036ad1" providerId="ADAL" clId="{6EDA56C6-6E90-4EDC-862A-743FE0A97AE9}" dt="2023-03-20T15:47:36.499" v="690"/>
        <pc:sldMkLst>
          <pc:docMk/>
          <pc:sldMk cId="2985927385" sldId="2147469942"/>
        </pc:sldMkLst>
      </pc:sldChg>
      <pc:sldChg chg="del">
        <pc:chgData name="Alex Powers" userId="ae4a1fc7-4395-46d3-b2f1-3b3c37036ad1" providerId="ADAL" clId="{6EDA56C6-6E90-4EDC-862A-743FE0A97AE9}" dt="2023-03-17T19:57:26.332" v="33" actId="2696"/>
        <pc:sldMkLst>
          <pc:docMk/>
          <pc:sldMk cId="1545043609" sldId="2147469943"/>
        </pc:sldMkLst>
      </pc:sldChg>
      <pc:sldChg chg="add modTransition">
        <pc:chgData name="Alex Powers" userId="ae4a1fc7-4395-46d3-b2f1-3b3c37036ad1" providerId="ADAL" clId="{6EDA56C6-6E90-4EDC-862A-743FE0A97AE9}" dt="2023-03-20T15:47:36.499" v="690"/>
        <pc:sldMkLst>
          <pc:docMk/>
          <pc:sldMk cId="2182883571" sldId="2147469943"/>
        </pc:sldMkLst>
      </pc:sldChg>
      <pc:sldChg chg="modTransition">
        <pc:chgData name="Alex Powers" userId="ae4a1fc7-4395-46d3-b2f1-3b3c37036ad1" providerId="ADAL" clId="{6EDA56C6-6E90-4EDC-862A-743FE0A97AE9}" dt="2023-03-20T15:47:36.499" v="690"/>
        <pc:sldMkLst>
          <pc:docMk/>
          <pc:sldMk cId="3434448082" sldId="2147469947"/>
        </pc:sldMkLst>
      </pc:sldChg>
      <pc:sldChg chg="modTransition">
        <pc:chgData name="Alex Powers" userId="ae4a1fc7-4395-46d3-b2f1-3b3c37036ad1" providerId="ADAL" clId="{6EDA56C6-6E90-4EDC-862A-743FE0A97AE9}" dt="2023-03-20T15:47:36.499" v="690"/>
        <pc:sldMkLst>
          <pc:docMk/>
          <pc:sldMk cId="3479646084" sldId="2147469948"/>
        </pc:sldMkLst>
      </pc:sldChg>
      <pc:sldChg chg="modTransition">
        <pc:chgData name="Alex Powers" userId="ae4a1fc7-4395-46d3-b2f1-3b3c37036ad1" providerId="ADAL" clId="{6EDA56C6-6E90-4EDC-862A-743FE0A97AE9}" dt="2023-03-20T15:47:36.499" v="690"/>
        <pc:sldMkLst>
          <pc:docMk/>
          <pc:sldMk cId="1851582088" sldId="2147469949"/>
        </pc:sldMkLst>
      </pc:sldChg>
      <pc:sldChg chg="modTransition">
        <pc:chgData name="Alex Powers" userId="ae4a1fc7-4395-46d3-b2f1-3b3c37036ad1" providerId="ADAL" clId="{6EDA56C6-6E90-4EDC-862A-743FE0A97AE9}" dt="2023-03-20T15:47:36.499" v="690"/>
        <pc:sldMkLst>
          <pc:docMk/>
          <pc:sldMk cId="227987308" sldId="2147469950"/>
        </pc:sldMkLst>
      </pc:sldChg>
      <pc:sldChg chg="modTransition">
        <pc:chgData name="Alex Powers" userId="ae4a1fc7-4395-46d3-b2f1-3b3c37036ad1" providerId="ADAL" clId="{6EDA56C6-6E90-4EDC-862A-743FE0A97AE9}" dt="2023-03-20T15:47:36.499" v="690"/>
        <pc:sldMkLst>
          <pc:docMk/>
          <pc:sldMk cId="4233497821" sldId="2147469951"/>
        </pc:sldMkLst>
      </pc:sldChg>
      <pc:sldChg chg="modTransition">
        <pc:chgData name="Alex Powers" userId="ae4a1fc7-4395-46d3-b2f1-3b3c37036ad1" providerId="ADAL" clId="{6EDA56C6-6E90-4EDC-862A-743FE0A97AE9}" dt="2023-03-20T15:47:36.499" v="690"/>
        <pc:sldMkLst>
          <pc:docMk/>
          <pc:sldMk cId="2308292781" sldId="2147469956"/>
        </pc:sldMkLst>
      </pc:sldChg>
      <pc:sldChg chg="modTransition">
        <pc:chgData name="Alex Powers" userId="ae4a1fc7-4395-46d3-b2f1-3b3c37036ad1" providerId="ADAL" clId="{6EDA56C6-6E90-4EDC-862A-743FE0A97AE9}" dt="2023-03-20T15:47:36.499" v="690"/>
        <pc:sldMkLst>
          <pc:docMk/>
          <pc:sldMk cId="4037217630" sldId="2147469957"/>
        </pc:sldMkLst>
      </pc:sldChg>
      <pc:sldChg chg="modTransition">
        <pc:chgData name="Alex Powers" userId="ae4a1fc7-4395-46d3-b2f1-3b3c37036ad1" providerId="ADAL" clId="{6EDA56C6-6E90-4EDC-862A-743FE0A97AE9}" dt="2023-03-20T15:47:36.499" v="690"/>
        <pc:sldMkLst>
          <pc:docMk/>
          <pc:sldMk cId="2488301222" sldId="2147469958"/>
        </pc:sldMkLst>
      </pc:sldChg>
      <pc:sldChg chg="del">
        <pc:chgData name="Alex Powers" userId="ae4a1fc7-4395-46d3-b2f1-3b3c37036ad1" providerId="ADAL" clId="{6EDA56C6-6E90-4EDC-862A-743FE0A97AE9}" dt="2023-03-17T19:57:26.332" v="33" actId="2696"/>
        <pc:sldMkLst>
          <pc:docMk/>
          <pc:sldMk cId="1605086997" sldId="2147469961"/>
        </pc:sldMkLst>
      </pc:sldChg>
      <pc:sldChg chg="add modTransition">
        <pc:chgData name="Alex Powers" userId="ae4a1fc7-4395-46d3-b2f1-3b3c37036ad1" providerId="ADAL" clId="{6EDA56C6-6E90-4EDC-862A-743FE0A97AE9}" dt="2023-03-20T15:47:36.499" v="690"/>
        <pc:sldMkLst>
          <pc:docMk/>
          <pc:sldMk cId="2767837632" sldId="2147469961"/>
        </pc:sldMkLst>
      </pc:sldChg>
      <pc:sldChg chg="del">
        <pc:chgData name="Alex Powers" userId="ae4a1fc7-4395-46d3-b2f1-3b3c37036ad1" providerId="ADAL" clId="{6EDA56C6-6E90-4EDC-862A-743FE0A97AE9}" dt="2023-03-17T19:57:26.332" v="33" actId="2696"/>
        <pc:sldMkLst>
          <pc:docMk/>
          <pc:sldMk cId="3615317182" sldId="2147469962"/>
        </pc:sldMkLst>
      </pc:sldChg>
      <pc:sldChg chg="add modTransition">
        <pc:chgData name="Alex Powers" userId="ae4a1fc7-4395-46d3-b2f1-3b3c37036ad1" providerId="ADAL" clId="{6EDA56C6-6E90-4EDC-862A-743FE0A97AE9}" dt="2023-03-20T15:47:36.499" v="690"/>
        <pc:sldMkLst>
          <pc:docMk/>
          <pc:sldMk cId="3880458400" sldId="2147469962"/>
        </pc:sldMkLst>
      </pc:sldChg>
      <pc:sldChg chg="modSp mod">
        <pc:chgData name="Alex Powers" userId="ae4a1fc7-4395-46d3-b2f1-3b3c37036ad1" providerId="ADAL" clId="{6EDA56C6-6E90-4EDC-862A-743FE0A97AE9}" dt="2023-03-20T15:48:44.505" v="719" actId="108"/>
        <pc:sldMkLst>
          <pc:docMk/>
          <pc:sldMk cId="2791043869" sldId="2147469963"/>
        </pc:sldMkLst>
        <pc:spChg chg="mod">
          <ac:chgData name="Alex Powers" userId="ae4a1fc7-4395-46d3-b2f1-3b3c37036ad1" providerId="ADAL" clId="{6EDA56C6-6E90-4EDC-862A-743FE0A97AE9}" dt="2023-03-20T15:48:44.505" v="719" actId="108"/>
          <ac:spMkLst>
            <pc:docMk/>
            <pc:sldMk cId="2791043869" sldId="2147469963"/>
            <ac:spMk id="52" creationId="{D80ECEEB-5F77-4143-A3CD-DC530DBFD6D5}"/>
          </ac:spMkLst>
        </pc:spChg>
      </pc:sldChg>
      <pc:sldChg chg="del mod modTransition modShow">
        <pc:chgData name="Alex Powers" userId="ae4a1fc7-4395-46d3-b2f1-3b3c37036ad1" providerId="ADAL" clId="{6EDA56C6-6E90-4EDC-862A-743FE0A97AE9}" dt="2023-03-20T15:49:39.588" v="721" actId="2696"/>
        <pc:sldMkLst>
          <pc:docMk/>
          <pc:sldMk cId="88289558" sldId="2147469968"/>
        </pc:sldMkLst>
      </pc:sldChg>
      <pc:sldChg chg="add">
        <pc:chgData name="Alex Powers" userId="ae4a1fc7-4395-46d3-b2f1-3b3c37036ad1" providerId="ADAL" clId="{6EDA56C6-6E90-4EDC-862A-743FE0A97AE9}" dt="2023-03-20T15:49:50.983" v="722"/>
        <pc:sldMkLst>
          <pc:docMk/>
          <pc:sldMk cId="937713753" sldId="2147469968"/>
        </pc:sldMkLst>
      </pc:sldChg>
      <pc:sldChg chg="add">
        <pc:chgData name="Alex Powers" userId="ae4a1fc7-4395-46d3-b2f1-3b3c37036ad1" providerId="ADAL" clId="{6EDA56C6-6E90-4EDC-862A-743FE0A97AE9}" dt="2023-03-20T15:49:50.983" v="722"/>
        <pc:sldMkLst>
          <pc:docMk/>
          <pc:sldMk cId="133441412" sldId="2147469969"/>
        </pc:sldMkLst>
      </pc:sldChg>
      <pc:sldChg chg="del mod modShow">
        <pc:chgData name="Alex Powers" userId="ae4a1fc7-4395-46d3-b2f1-3b3c37036ad1" providerId="ADAL" clId="{6EDA56C6-6E90-4EDC-862A-743FE0A97AE9}" dt="2023-03-20T15:49:39.588" v="721" actId="2696"/>
        <pc:sldMkLst>
          <pc:docMk/>
          <pc:sldMk cId="2408342593" sldId="2147469969"/>
        </pc:sldMkLst>
      </pc:sldChg>
      <pc:sldChg chg="modTransition">
        <pc:chgData name="Alex Powers" userId="ae4a1fc7-4395-46d3-b2f1-3b3c37036ad1" providerId="ADAL" clId="{6EDA56C6-6E90-4EDC-862A-743FE0A97AE9}" dt="2023-03-20T15:47:36.499" v="690"/>
        <pc:sldMkLst>
          <pc:docMk/>
          <pc:sldMk cId="2513623041" sldId="2147469972"/>
        </pc:sldMkLst>
      </pc:sldChg>
      <pc:sldChg chg="del mod modTransition modShow">
        <pc:chgData name="Alex Powers" userId="ae4a1fc7-4395-46d3-b2f1-3b3c37036ad1" providerId="ADAL" clId="{6EDA56C6-6E90-4EDC-862A-743FE0A97AE9}" dt="2023-03-20T15:49:39.588" v="721" actId="2696"/>
        <pc:sldMkLst>
          <pc:docMk/>
          <pc:sldMk cId="409485467" sldId="2147469975"/>
        </pc:sldMkLst>
      </pc:sldChg>
      <pc:sldChg chg="add">
        <pc:chgData name="Alex Powers" userId="ae4a1fc7-4395-46d3-b2f1-3b3c37036ad1" providerId="ADAL" clId="{6EDA56C6-6E90-4EDC-862A-743FE0A97AE9}" dt="2023-03-20T15:49:50.983" v="722"/>
        <pc:sldMkLst>
          <pc:docMk/>
          <pc:sldMk cId="3703577308" sldId="2147469975"/>
        </pc:sldMkLst>
      </pc:sldChg>
      <pc:sldChg chg="add modTransition">
        <pc:chgData name="Alex Powers" userId="ae4a1fc7-4395-46d3-b2f1-3b3c37036ad1" providerId="ADAL" clId="{6EDA56C6-6E90-4EDC-862A-743FE0A97AE9}" dt="2023-03-20T15:47:36.499" v="690"/>
        <pc:sldMkLst>
          <pc:docMk/>
          <pc:sldMk cId="889636239" sldId="2147469977"/>
        </pc:sldMkLst>
      </pc:sldChg>
      <pc:sldChg chg="del">
        <pc:chgData name="Alex Powers" userId="ae4a1fc7-4395-46d3-b2f1-3b3c37036ad1" providerId="ADAL" clId="{6EDA56C6-6E90-4EDC-862A-743FE0A97AE9}" dt="2023-03-17T19:57:26.332" v="33" actId="2696"/>
        <pc:sldMkLst>
          <pc:docMk/>
          <pc:sldMk cId="2380613186" sldId="2147469977"/>
        </pc:sldMkLst>
      </pc:sldChg>
      <pc:sldChg chg="add modTransition">
        <pc:chgData name="Alex Powers" userId="ae4a1fc7-4395-46d3-b2f1-3b3c37036ad1" providerId="ADAL" clId="{6EDA56C6-6E90-4EDC-862A-743FE0A97AE9}" dt="2023-03-20T15:47:36.499" v="690"/>
        <pc:sldMkLst>
          <pc:docMk/>
          <pc:sldMk cId="441411351" sldId="2147469978"/>
        </pc:sldMkLst>
      </pc:sldChg>
      <pc:sldChg chg="del">
        <pc:chgData name="Alex Powers" userId="ae4a1fc7-4395-46d3-b2f1-3b3c37036ad1" providerId="ADAL" clId="{6EDA56C6-6E90-4EDC-862A-743FE0A97AE9}" dt="2023-03-17T19:57:26.332" v="33" actId="2696"/>
        <pc:sldMkLst>
          <pc:docMk/>
          <pc:sldMk cId="1860000104" sldId="2147469978"/>
        </pc:sldMkLst>
      </pc:sldChg>
      <pc:sldChg chg="del mod modShow">
        <pc:chgData name="Alex Powers" userId="ae4a1fc7-4395-46d3-b2f1-3b3c37036ad1" providerId="ADAL" clId="{6EDA56C6-6E90-4EDC-862A-743FE0A97AE9}" dt="2023-03-20T15:49:39.588" v="721" actId="2696"/>
        <pc:sldMkLst>
          <pc:docMk/>
          <pc:sldMk cId="1646384809" sldId="2147469979"/>
        </pc:sldMkLst>
      </pc:sldChg>
      <pc:sldChg chg="add">
        <pc:chgData name="Alex Powers" userId="ae4a1fc7-4395-46d3-b2f1-3b3c37036ad1" providerId="ADAL" clId="{6EDA56C6-6E90-4EDC-862A-743FE0A97AE9}" dt="2023-03-20T15:49:50.983" v="722"/>
        <pc:sldMkLst>
          <pc:docMk/>
          <pc:sldMk cId="2912638030" sldId="2147469979"/>
        </pc:sldMkLst>
      </pc:sldChg>
      <pc:sldChg chg="add modTransition">
        <pc:chgData name="Alex Powers" userId="ae4a1fc7-4395-46d3-b2f1-3b3c37036ad1" providerId="ADAL" clId="{6EDA56C6-6E90-4EDC-862A-743FE0A97AE9}" dt="2023-03-20T15:47:36.499" v="690"/>
        <pc:sldMkLst>
          <pc:docMk/>
          <pc:sldMk cId="254687675" sldId="2147469980"/>
        </pc:sldMkLst>
      </pc:sldChg>
      <pc:sldChg chg="del">
        <pc:chgData name="Alex Powers" userId="ae4a1fc7-4395-46d3-b2f1-3b3c37036ad1" providerId="ADAL" clId="{6EDA56C6-6E90-4EDC-862A-743FE0A97AE9}" dt="2023-03-17T19:57:26.332" v="33" actId="2696"/>
        <pc:sldMkLst>
          <pc:docMk/>
          <pc:sldMk cId="590942111" sldId="2147469980"/>
        </pc:sldMkLst>
      </pc:sldChg>
      <pc:sldChg chg="del mod modShow">
        <pc:chgData name="Alex Powers" userId="ae4a1fc7-4395-46d3-b2f1-3b3c37036ad1" providerId="ADAL" clId="{6EDA56C6-6E90-4EDC-862A-743FE0A97AE9}" dt="2023-03-20T15:49:39.588" v="721" actId="2696"/>
        <pc:sldMkLst>
          <pc:docMk/>
          <pc:sldMk cId="3567913994" sldId="2147469983"/>
        </pc:sldMkLst>
      </pc:sldChg>
      <pc:sldChg chg="add">
        <pc:chgData name="Alex Powers" userId="ae4a1fc7-4395-46d3-b2f1-3b3c37036ad1" providerId="ADAL" clId="{6EDA56C6-6E90-4EDC-862A-743FE0A97AE9}" dt="2023-03-20T15:49:50.983" v="722"/>
        <pc:sldMkLst>
          <pc:docMk/>
          <pc:sldMk cId="4076257320" sldId="2147469983"/>
        </pc:sldMkLst>
      </pc:sldChg>
      <pc:sldChg chg="del mod modShow">
        <pc:chgData name="Alex Powers" userId="ae4a1fc7-4395-46d3-b2f1-3b3c37036ad1" providerId="ADAL" clId="{6EDA56C6-6E90-4EDC-862A-743FE0A97AE9}" dt="2023-03-20T15:49:39.588" v="721" actId="2696"/>
        <pc:sldMkLst>
          <pc:docMk/>
          <pc:sldMk cId="1334380734" sldId="2147469984"/>
        </pc:sldMkLst>
      </pc:sldChg>
      <pc:sldChg chg="add">
        <pc:chgData name="Alex Powers" userId="ae4a1fc7-4395-46d3-b2f1-3b3c37036ad1" providerId="ADAL" clId="{6EDA56C6-6E90-4EDC-862A-743FE0A97AE9}" dt="2023-03-20T15:49:50.983" v="722"/>
        <pc:sldMkLst>
          <pc:docMk/>
          <pc:sldMk cId="2673377039" sldId="2147469984"/>
        </pc:sldMkLst>
      </pc:sldChg>
      <pc:sldChg chg="del mod modShow">
        <pc:chgData name="Alex Powers" userId="ae4a1fc7-4395-46d3-b2f1-3b3c37036ad1" providerId="ADAL" clId="{6EDA56C6-6E90-4EDC-862A-743FE0A97AE9}" dt="2023-03-20T15:49:39.588" v="721" actId="2696"/>
        <pc:sldMkLst>
          <pc:docMk/>
          <pc:sldMk cId="3437924214" sldId="2147469985"/>
        </pc:sldMkLst>
      </pc:sldChg>
      <pc:sldChg chg="add">
        <pc:chgData name="Alex Powers" userId="ae4a1fc7-4395-46d3-b2f1-3b3c37036ad1" providerId="ADAL" clId="{6EDA56C6-6E90-4EDC-862A-743FE0A97AE9}" dt="2023-03-20T15:49:50.983" v="722"/>
        <pc:sldMkLst>
          <pc:docMk/>
          <pc:sldMk cId="3965554258" sldId="2147469985"/>
        </pc:sldMkLst>
      </pc:sldChg>
      <pc:sldChg chg="del mod modShow">
        <pc:chgData name="Alex Powers" userId="ae4a1fc7-4395-46d3-b2f1-3b3c37036ad1" providerId="ADAL" clId="{6EDA56C6-6E90-4EDC-862A-743FE0A97AE9}" dt="2023-03-20T15:49:39.588" v="721" actId="2696"/>
        <pc:sldMkLst>
          <pc:docMk/>
          <pc:sldMk cId="170189365" sldId="2147469986"/>
        </pc:sldMkLst>
      </pc:sldChg>
      <pc:sldChg chg="add">
        <pc:chgData name="Alex Powers" userId="ae4a1fc7-4395-46d3-b2f1-3b3c37036ad1" providerId="ADAL" clId="{6EDA56C6-6E90-4EDC-862A-743FE0A97AE9}" dt="2023-03-20T15:49:50.983" v="722"/>
        <pc:sldMkLst>
          <pc:docMk/>
          <pc:sldMk cId="1953575578" sldId="2147469986"/>
        </pc:sldMkLst>
      </pc:sldChg>
      <pc:sldChg chg="add">
        <pc:chgData name="Alex Powers" userId="ae4a1fc7-4395-46d3-b2f1-3b3c37036ad1" providerId="ADAL" clId="{6EDA56C6-6E90-4EDC-862A-743FE0A97AE9}" dt="2023-03-20T15:49:50.983" v="722"/>
        <pc:sldMkLst>
          <pc:docMk/>
          <pc:sldMk cId="62712523" sldId="2147469987"/>
        </pc:sldMkLst>
      </pc:sldChg>
      <pc:sldChg chg="del mod modShow">
        <pc:chgData name="Alex Powers" userId="ae4a1fc7-4395-46d3-b2f1-3b3c37036ad1" providerId="ADAL" clId="{6EDA56C6-6E90-4EDC-862A-743FE0A97AE9}" dt="2023-03-20T15:49:39.588" v="721" actId="2696"/>
        <pc:sldMkLst>
          <pc:docMk/>
          <pc:sldMk cId="3973779779" sldId="2147469987"/>
        </pc:sldMkLst>
      </pc:sldChg>
      <pc:sldChg chg="add">
        <pc:chgData name="Alex Powers" userId="ae4a1fc7-4395-46d3-b2f1-3b3c37036ad1" providerId="ADAL" clId="{6EDA56C6-6E90-4EDC-862A-743FE0A97AE9}" dt="2023-03-20T15:49:50.983" v="722"/>
        <pc:sldMkLst>
          <pc:docMk/>
          <pc:sldMk cId="2454775531" sldId="2147469988"/>
        </pc:sldMkLst>
      </pc:sldChg>
      <pc:sldChg chg="del mod modShow">
        <pc:chgData name="Alex Powers" userId="ae4a1fc7-4395-46d3-b2f1-3b3c37036ad1" providerId="ADAL" clId="{6EDA56C6-6E90-4EDC-862A-743FE0A97AE9}" dt="2023-03-20T15:49:39.588" v="721" actId="2696"/>
        <pc:sldMkLst>
          <pc:docMk/>
          <pc:sldMk cId="3896218398" sldId="2147469988"/>
        </pc:sldMkLst>
      </pc:sldChg>
      <pc:sldChg chg="add modTransition">
        <pc:chgData name="Alex Powers" userId="ae4a1fc7-4395-46d3-b2f1-3b3c37036ad1" providerId="ADAL" clId="{6EDA56C6-6E90-4EDC-862A-743FE0A97AE9}" dt="2023-03-20T15:47:36.499" v="690"/>
        <pc:sldMkLst>
          <pc:docMk/>
          <pc:sldMk cId="205813936" sldId="2147469989"/>
        </pc:sldMkLst>
      </pc:sldChg>
      <pc:sldChg chg="del">
        <pc:chgData name="Alex Powers" userId="ae4a1fc7-4395-46d3-b2f1-3b3c37036ad1" providerId="ADAL" clId="{6EDA56C6-6E90-4EDC-862A-743FE0A97AE9}" dt="2023-03-17T19:57:26.332" v="33" actId="2696"/>
        <pc:sldMkLst>
          <pc:docMk/>
          <pc:sldMk cId="4151663203" sldId="2147469989"/>
        </pc:sldMkLst>
      </pc:sldChg>
      <pc:sldChg chg="add">
        <pc:chgData name="Alex Powers" userId="ae4a1fc7-4395-46d3-b2f1-3b3c37036ad1" providerId="ADAL" clId="{6EDA56C6-6E90-4EDC-862A-743FE0A97AE9}" dt="2023-03-20T15:49:50.983" v="722"/>
        <pc:sldMkLst>
          <pc:docMk/>
          <pc:sldMk cId="101462924" sldId="2147469990"/>
        </pc:sldMkLst>
      </pc:sldChg>
      <pc:sldChg chg="del modTransition">
        <pc:chgData name="Alex Powers" userId="ae4a1fc7-4395-46d3-b2f1-3b3c37036ad1" providerId="ADAL" clId="{6EDA56C6-6E90-4EDC-862A-743FE0A97AE9}" dt="2023-03-20T15:49:39.588" v="721" actId="2696"/>
        <pc:sldMkLst>
          <pc:docMk/>
          <pc:sldMk cId="1562393145" sldId="2147469990"/>
        </pc:sldMkLst>
      </pc:sldChg>
      <pc:sldChg chg="del modTransition">
        <pc:chgData name="Alex Powers" userId="ae4a1fc7-4395-46d3-b2f1-3b3c37036ad1" providerId="ADAL" clId="{6EDA56C6-6E90-4EDC-862A-743FE0A97AE9}" dt="2023-03-20T15:49:39.588" v="721" actId="2696"/>
        <pc:sldMkLst>
          <pc:docMk/>
          <pc:sldMk cId="392625646" sldId="2147469991"/>
        </pc:sldMkLst>
      </pc:sldChg>
      <pc:sldChg chg="add">
        <pc:chgData name="Alex Powers" userId="ae4a1fc7-4395-46d3-b2f1-3b3c37036ad1" providerId="ADAL" clId="{6EDA56C6-6E90-4EDC-862A-743FE0A97AE9}" dt="2023-03-20T15:49:50.983" v="722"/>
        <pc:sldMkLst>
          <pc:docMk/>
          <pc:sldMk cId="1421495752" sldId="2147469991"/>
        </pc:sldMkLst>
      </pc:sldChg>
      <pc:sldChg chg="modTransition">
        <pc:chgData name="Alex Powers" userId="ae4a1fc7-4395-46d3-b2f1-3b3c37036ad1" providerId="ADAL" clId="{6EDA56C6-6E90-4EDC-862A-743FE0A97AE9}" dt="2023-03-20T15:47:36.499" v="690"/>
        <pc:sldMkLst>
          <pc:docMk/>
          <pc:sldMk cId="2580878638" sldId="2147469997"/>
        </pc:sldMkLst>
      </pc:sldChg>
      <pc:sldChg chg="modTransition">
        <pc:chgData name="Alex Powers" userId="ae4a1fc7-4395-46d3-b2f1-3b3c37036ad1" providerId="ADAL" clId="{6EDA56C6-6E90-4EDC-862A-743FE0A97AE9}" dt="2023-03-20T15:47:36.499" v="690"/>
        <pc:sldMkLst>
          <pc:docMk/>
          <pc:sldMk cId="2385053603" sldId="2147469999"/>
        </pc:sldMkLst>
      </pc:sldChg>
      <pc:sldChg chg="modTransition">
        <pc:chgData name="Alex Powers" userId="ae4a1fc7-4395-46d3-b2f1-3b3c37036ad1" providerId="ADAL" clId="{6EDA56C6-6E90-4EDC-862A-743FE0A97AE9}" dt="2023-03-20T15:47:36.499" v="690"/>
        <pc:sldMkLst>
          <pc:docMk/>
          <pc:sldMk cId="3585386099" sldId="2147470000"/>
        </pc:sldMkLst>
      </pc:sldChg>
      <pc:sldChg chg="modTransition">
        <pc:chgData name="Alex Powers" userId="ae4a1fc7-4395-46d3-b2f1-3b3c37036ad1" providerId="ADAL" clId="{6EDA56C6-6E90-4EDC-862A-743FE0A97AE9}" dt="2023-03-20T15:47:36.499" v="690"/>
        <pc:sldMkLst>
          <pc:docMk/>
          <pc:sldMk cId="1957059427" sldId="2147470001"/>
        </pc:sldMkLst>
      </pc:sldChg>
      <pc:sldChg chg="modTransition">
        <pc:chgData name="Alex Powers" userId="ae4a1fc7-4395-46d3-b2f1-3b3c37036ad1" providerId="ADAL" clId="{6EDA56C6-6E90-4EDC-862A-743FE0A97AE9}" dt="2023-03-20T15:47:36.499" v="690"/>
        <pc:sldMkLst>
          <pc:docMk/>
          <pc:sldMk cId="1979941133" sldId="2147470002"/>
        </pc:sldMkLst>
      </pc:sldChg>
      <pc:sldChg chg="modTransition">
        <pc:chgData name="Alex Powers" userId="ae4a1fc7-4395-46d3-b2f1-3b3c37036ad1" providerId="ADAL" clId="{6EDA56C6-6E90-4EDC-862A-743FE0A97AE9}" dt="2023-03-20T15:47:36.499" v="690"/>
        <pc:sldMkLst>
          <pc:docMk/>
          <pc:sldMk cId="3401039702" sldId="2147470006"/>
        </pc:sldMkLst>
      </pc:sldChg>
      <pc:sldChg chg="modTransition">
        <pc:chgData name="Alex Powers" userId="ae4a1fc7-4395-46d3-b2f1-3b3c37036ad1" providerId="ADAL" clId="{6EDA56C6-6E90-4EDC-862A-743FE0A97AE9}" dt="2023-03-20T15:47:36.499" v="690"/>
        <pc:sldMkLst>
          <pc:docMk/>
          <pc:sldMk cId="3916173309" sldId="2147470007"/>
        </pc:sldMkLst>
      </pc:sldChg>
      <pc:sldChg chg="modTransition">
        <pc:chgData name="Alex Powers" userId="ae4a1fc7-4395-46d3-b2f1-3b3c37036ad1" providerId="ADAL" clId="{6EDA56C6-6E90-4EDC-862A-743FE0A97AE9}" dt="2023-03-20T15:47:36.499" v="690"/>
        <pc:sldMkLst>
          <pc:docMk/>
          <pc:sldMk cId="1439426021" sldId="2147470008"/>
        </pc:sldMkLst>
      </pc:sldChg>
      <pc:sldChg chg="modTransition">
        <pc:chgData name="Alex Powers" userId="ae4a1fc7-4395-46d3-b2f1-3b3c37036ad1" providerId="ADAL" clId="{6EDA56C6-6E90-4EDC-862A-743FE0A97AE9}" dt="2023-03-20T15:47:36.499" v="690"/>
        <pc:sldMkLst>
          <pc:docMk/>
          <pc:sldMk cId="1079864653" sldId="2147470009"/>
        </pc:sldMkLst>
      </pc:sldChg>
      <pc:sldChg chg="modTransition">
        <pc:chgData name="Alex Powers" userId="ae4a1fc7-4395-46d3-b2f1-3b3c37036ad1" providerId="ADAL" clId="{6EDA56C6-6E90-4EDC-862A-743FE0A97AE9}" dt="2023-03-20T15:47:36.499" v="690"/>
        <pc:sldMkLst>
          <pc:docMk/>
          <pc:sldMk cId="2278235748" sldId="2147470014"/>
        </pc:sldMkLst>
      </pc:sldChg>
      <pc:sldChg chg="modTransition">
        <pc:chgData name="Alex Powers" userId="ae4a1fc7-4395-46d3-b2f1-3b3c37036ad1" providerId="ADAL" clId="{6EDA56C6-6E90-4EDC-862A-743FE0A97AE9}" dt="2023-03-20T15:47:36.499" v="690"/>
        <pc:sldMkLst>
          <pc:docMk/>
          <pc:sldMk cId="4169422848" sldId="2147470015"/>
        </pc:sldMkLst>
      </pc:sldChg>
      <pc:sldChg chg="modTransition">
        <pc:chgData name="Alex Powers" userId="ae4a1fc7-4395-46d3-b2f1-3b3c37036ad1" providerId="ADAL" clId="{6EDA56C6-6E90-4EDC-862A-743FE0A97AE9}" dt="2023-03-20T15:47:36.499" v="690"/>
        <pc:sldMkLst>
          <pc:docMk/>
          <pc:sldMk cId="2167896620" sldId="2147470019"/>
        </pc:sldMkLst>
      </pc:sldChg>
      <pc:sldChg chg="modTransition">
        <pc:chgData name="Alex Powers" userId="ae4a1fc7-4395-46d3-b2f1-3b3c37036ad1" providerId="ADAL" clId="{6EDA56C6-6E90-4EDC-862A-743FE0A97AE9}" dt="2023-03-20T15:47:36.499" v="690"/>
        <pc:sldMkLst>
          <pc:docMk/>
          <pc:sldMk cId="251696956" sldId="2147470020"/>
        </pc:sldMkLst>
      </pc:sldChg>
      <pc:sldChg chg="modTransition">
        <pc:chgData name="Alex Powers" userId="ae4a1fc7-4395-46d3-b2f1-3b3c37036ad1" providerId="ADAL" clId="{6EDA56C6-6E90-4EDC-862A-743FE0A97AE9}" dt="2023-03-20T15:47:36.499" v="690"/>
        <pc:sldMkLst>
          <pc:docMk/>
          <pc:sldMk cId="3403083790" sldId="2147470021"/>
        </pc:sldMkLst>
      </pc:sldChg>
      <pc:sldChg chg="modTransition">
        <pc:chgData name="Alex Powers" userId="ae4a1fc7-4395-46d3-b2f1-3b3c37036ad1" providerId="ADAL" clId="{6EDA56C6-6E90-4EDC-862A-743FE0A97AE9}" dt="2023-03-20T15:47:36.499" v="690"/>
        <pc:sldMkLst>
          <pc:docMk/>
          <pc:sldMk cId="1775685642" sldId="2147470022"/>
        </pc:sldMkLst>
      </pc:sldChg>
      <pc:sldChg chg="modTransition">
        <pc:chgData name="Alex Powers" userId="ae4a1fc7-4395-46d3-b2f1-3b3c37036ad1" providerId="ADAL" clId="{6EDA56C6-6E90-4EDC-862A-743FE0A97AE9}" dt="2023-03-20T15:47:36.499" v="690"/>
        <pc:sldMkLst>
          <pc:docMk/>
          <pc:sldMk cId="828768306" sldId="2147470023"/>
        </pc:sldMkLst>
      </pc:sldChg>
      <pc:sldChg chg="modTransition">
        <pc:chgData name="Alex Powers" userId="ae4a1fc7-4395-46d3-b2f1-3b3c37036ad1" providerId="ADAL" clId="{6EDA56C6-6E90-4EDC-862A-743FE0A97AE9}" dt="2023-03-20T15:47:36.499" v="690"/>
        <pc:sldMkLst>
          <pc:docMk/>
          <pc:sldMk cId="1862046003" sldId="2147470025"/>
        </pc:sldMkLst>
      </pc:sldChg>
      <pc:sldChg chg="modTransition">
        <pc:chgData name="Alex Powers" userId="ae4a1fc7-4395-46d3-b2f1-3b3c37036ad1" providerId="ADAL" clId="{6EDA56C6-6E90-4EDC-862A-743FE0A97AE9}" dt="2023-03-20T15:47:36.499" v="690"/>
        <pc:sldMkLst>
          <pc:docMk/>
          <pc:sldMk cId="2985688466" sldId="2147470026"/>
        </pc:sldMkLst>
      </pc:sldChg>
      <pc:sldChg chg="add">
        <pc:chgData name="Alex Powers" userId="ae4a1fc7-4395-46d3-b2f1-3b3c37036ad1" providerId="ADAL" clId="{6EDA56C6-6E90-4EDC-862A-743FE0A97AE9}" dt="2023-03-20T15:49:50.983" v="722"/>
        <pc:sldMkLst>
          <pc:docMk/>
          <pc:sldMk cId="1820760946" sldId="2147470027"/>
        </pc:sldMkLst>
      </pc:sldChg>
      <pc:sldChg chg="del mod modTransition modShow">
        <pc:chgData name="Alex Powers" userId="ae4a1fc7-4395-46d3-b2f1-3b3c37036ad1" providerId="ADAL" clId="{6EDA56C6-6E90-4EDC-862A-743FE0A97AE9}" dt="2023-03-20T15:49:39.588" v="721" actId="2696"/>
        <pc:sldMkLst>
          <pc:docMk/>
          <pc:sldMk cId="4217775724" sldId="2147470027"/>
        </pc:sldMkLst>
      </pc:sldChg>
      <pc:sldChg chg="modTransition">
        <pc:chgData name="Alex Powers" userId="ae4a1fc7-4395-46d3-b2f1-3b3c37036ad1" providerId="ADAL" clId="{6EDA56C6-6E90-4EDC-862A-743FE0A97AE9}" dt="2023-03-20T15:47:36.499" v="690"/>
        <pc:sldMkLst>
          <pc:docMk/>
          <pc:sldMk cId="3255266748" sldId="2147470029"/>
        </pc:sldMkLst>
      </pc:sldChg>
      <pc:sldChg chg="modTransition">
        <pc:chgData name="Alex Powers" userId="ae4a1fc7-4395-46d3-b2f1-3b3c37036ad1" providerId="ADAL" clId="{6EDA56C6-6E90-4EDC-862A-743FE0A97AE9}" dt="2023-03-20T15:47:36.499" v="690"/>
        <pc:sldMkLst>
          <pc:docMk/>
          <pc:sldMk cId="2692276594" sldId="2147470031"/>
        </pc:sldMkLst>
      </pc:sldChg>
      <pc:sldChg chg="modTransition">
        <pc:chgData name="Alex Powers" userId="ae4a1fc7-4395-46d3-b2f1-3b3c37036ad1" providerId="ADAL" clId="{6EDA56C6-6E90-4EDC-862A-743FE0A97AE9}" dt="2023-03-20T15:47:36.499" v="690"/>
        <pc:sldMkLst>
          <pc:docMk/>
          <pc:sldMk cId="1737087969" sldId="2147470033"/>
        </pc:sldMkLst>
      </pc:sldChg>
      <pc:sldChg chg="modTransition">
        <pc:chgData name="Alex Powers" userId="ae4a1fc7-4395-46d3-b2f1-3b3c37036ad1" providerId="ADAL" clId="{6EDA56C6-6E90-4EDC-862A-743FE0A97AE9}" dt="2023-03-20T15:47:36.499" v="690"/>
        <pc:sldMkLst>
          <pc:docMk/>
          <pc:sldMk cId="3440000179" sldId="2147470034"/>
        </pc:sldMkLst>
      </pc:sldChg>
      <pc:sldChg chg="add modTransition">
        <pc:chgData name="Alex Powers" userId="ae4a1fc7-4395-46d3-b2f1-3b3c37036ad1" providerId="ADAL" clId="{6EDA56C6-6E90-4EDC-862A-743FE0A97AE9}" dt="2023-03-20T15:47:36.499" v="690"/>
        <pc:sldMkLst>
          <pc:docMk/>
          <pc:sldMk cId="2477031493" sldId="2147470035"/>
        </pc:sldMkLst>
      </pc:sldChg>
      <pc:sldChg chg="del">
        <pc:chgData name="Alex Powers" userId="ae4a1fc7-4395-46d3-b2f1-3b3c37036ad1" providerId="ADAL" clId="{6EDA56C6-6E90-4EDC-862A-743FE0A97AE9}" dt="2023-03-17T19:57:26.332" v="33" actId="2696"/>
        <pc:sldMkLst>
          <pc:docMk/>
          <pc:sldMk cId="3435564117" sldId="2147470035"/>
        </pc:sldMkLst>
      </pc:sldChg>
      <pc:sldChg chg="del mod modShow">
        <pc:chgData name="Alex Powers" userId="ae4a1fc7-4395-46d3-b2f1-3b3c37036ad1" providerId="ADAL" clId="{6EDA56C6-6E90-4EDC-862A-743FE0A97AE9}" dt="2023-03-20T15:22:58.983" v="263" actId="47"/>
        <pc:sldMkLst>
          <pc:docMk/>
          <pc:sldMk cId="3026600060" sldId="2147470037"/>
        </pc:sldMkLst>
      </pc:sldChg>
      <pc:sldChg chg="modSp mod modTransition">
        <pc:chgData name="Alex Powers" userId="ae4a1fc7-4395-46d3-b2f1-3b3c37036ad1" providerId="ADAL" clId="{6EDA56C6-6E90-4EDC-862A-743FE0A97AE9}" dt="2023-03-20T15:47:36.499" v="690"/>
        <pc:sldMkLst>
          <pc:docMk/>
          <pc:sldMk cId="1531936027" sldId="2147470038"/>
        </pc:sldMkLst>
        <pc:graphicFrameChg chg="mod modGraphic">
          <ac:chgData name="Alex Powers" userId="ae4a1fc7-4395-46d3-b2f1-3b3c37036ad1" providerId="ADAL" clId="{6EDA56C6-6E90-4EDC-862A-743FE0A97AE9}" dt="2023-03-20T15:26:11.711" v="318" actId="20577"/>
          <ac:graphicFrameMkLst>
            <pc:docMk/>
            <pc:sldMk cId="1531936027" sldId="2147470038"/>
            <ac:graphicFrameMk id="7" creationId="{3E5C1877-83B6-43B2-8D9F-D6B32A5B8BB7}"/>
          </ac:graphicFrameMkLst>
        </pc:graphicFrameChg>
      </pc:sldChg>
      <pc:sldChg chg="modTransition">
        <pc:chgData name="Alex Powers" userId="ae4a1fc7-4395-46d3-b2f1-3b3c37036ad1" providerId="ADAL" clId="{6EDA56C6-6E90-4EDC-862A-743FE0A97AE9}" dt="2023-03-20T15:47:36.499" v="690"/>
        <pc:sldMkLst>
          <pc:docMk/>
          <pc:sldMk cId="3020266290" sldId="2147470039"/>
        </pc:sldMkLst>
      </pc:sldChg>
      <pc:sldChg chg="modTransition">
        <pc:chgData name="Alex Powers" userId="ae4a1fc7-4395-46d3-b2f1-3b3c37036ad1" providerId="ADAL" clId="{6EDA56C6-6E90-4EDC-862A-743FE0A97AE9}" dt="2023-03-20T15:47:36.499" v="690"/>
        <pc:sldMkLst>
          <pc:docMk/>
          <pc:sldMk cId="1292489040" sldId="2147470040"/>
        </pc:sldMkLst>
      </pc:sldChg>
      <pc:sldChg chg="modTransition">
        <pc:chgData name="Alex Powers" userId="ae4a1fc7-4395-46d3-b2f1-3b3c37036ad1" providerId="ADAL" clId="{6EDA56C6-6E90-4EDC-862A-743FE0A97AE9}" dt="2023-03-20T15:47:36.499" v="690"/>
        <pc:sldMkLst>
          <pc:docMk/>
          <pc:sldMk cId="229807602" sldId="2147470042"/>
        </pc:sldMkLst>
      </pc:sldChg>
      <pc:sldChg chg="modTransition">
        <pc:chgData name="Alex Powers" userId="ae4a1fc7-4395-46d3-b2f1-3b3c37036ad1" providerId="ADAL" clId="{6EDA56C6-6E90-4EDC-862A-743FE0A97AE9}" dt="2023-03-20T15:47:36.499" v="690"/>
        <pc:sldMkLst>
          <pc:docMk/>
          <pc:sldMk cId="1765774517" sldId="2147470043"/>
        </pc:sldMkLst>
      </pc:sldChg>
      <pc:sldChg chg="modTransition">
        <pc:chgData name="Alex Powers" userId="ae4a1fc7-4395-46d3-b2f1-3b3c37036ad1" providerId="ADAL" clId="{6EDA56C6-6E90-4EDC-862A-743FE0A97AE9}" dt="2023-03-20T15:47:36.499" v="690"/>
        <pc:sldMkLst>
          <pc:docMk/>
          <pc:sldMk cId="2909263155" sldId="2147470045"/>
        </pc:sldMkLst>
      </pc:sldChg>
      <pc:sldChg chg="modTransition">
        <pc:chgData name="Alex Powers" userId="ae4a1fc7-4395-46d3-b2f1-3b3c37036ad1" providerId="ADAL" clId="{6EDA56C6-6E90-4EDC-862A-743FE0A97AE9}" dt="2023-03-20T15:47:36.499" v="690"/>
        <pc:sldMkLst>
          <pc:docMk/>
          <pc:sldMk cId="3349465913" sldId="2147470047"/>
        </pc:sldMkLst>
      </pc:sldChg>
      <pc:sldChg chg="modTransition">
        <pc:chgData name="Alex Powers" userId="ae4a1fc7-4395-46d3-b2f1-3b3c37036ad1" providerId="ADAL" clId="{6EDA56C6-6E90-4EDC-862A-743FE0A97AE9}" dt="2023-03-20T15:47:36.499" v="690"/>
        <pc:sldMkLst>
          <pc:docMk/>
          <pc:sldMk cId="1449389869" sldId="2147470048"/>
        </pc:sldMkLst>
      </pc:sldChg>
      <pc:sldChg chg="modTransition">
        <pc:chgData name="Alex Powers" userId="ae4a1fc7-4395-46d3-b2f1-3b3c37036ad1" providerId="ADAL" clId="{6EDA56C6-6E90-4EDC-862A-743FE0A97AE9}" dt="2023-03-20T15:47:36.499" v="690"/>
        <pc:sldMkLst>
          <pc:docMk/>
          <pc:sldMk cId="713603935" sldId="2147470049"/>
        </pc:sldMkLst>
      </pc:sldChg>
      <pc:sldChg chg="add mod modTransition modShow">
        <pc:chgData name="Alex Powers" userId="ae4a1fc7-4395-46d3-b2f1-3b3c37036ad1" providerId="ADAL" clId="{6EDA56C6-6E90-4EDC-862A-743FE0A97AE9}" dt="2023-03-20T15:49:55.542" v="723" actId="729"/>
        <pc:sldMkLst>
          <pc:docMk/>
          <pc:sldMk cId="3671956321" sldId="2147470052"/>
        </pc:sldMkLst>
      </pc:sldChg>
      <pc:sldChg chg="del">
        <pc:chgData name="Alex Powers" userId="ae4a1fc7-4395-46d3-b2f1-3b3c37036ad1" providerId="ADAL" clId="{6EDA56C6-6E90-4EDC-862A-743FE0A97AE9}" dt="2023-03-17T19:57:03.569" v="31" actId="2696"/>
        <pc:sldMkLst>
          <pc:docMk/>
          <pc:sldMk cId="3723718815" sldId="2147470052"/>
        </pc:sldMkLst>
      </pc:sldChg>
      <pc:sldChg chg="modTransition">
        <pc:chgData name="Alex Powers" userId="ae4a1fc7-4395-46d3-b2f1-3b3c37036ad1" providerId="ADAL" clId="{6EDA56C6-6E90-4EDC-862A-743FE0A97AE9}" dt="2023-03-20T15:47:36.499" v="690"/>
        <pc:sldMkLst>
          <pc:docMk/>
          <pc:sldMk cId="18369262" sldId="2147470053"/>
        </pc:sldMkLst>
      </pc:sldChg>
      <pc:sldChg chg="modTransition">
        <pc:chgData name="Alex Powers" userId="ae4a1fc7-4395-46d3-b2f1-3b3c37036ad1" providerId="ADAL" clId="{6EDA56C6-6E90-4EDC-862A-743FE0A97AE9}" dt="2023-03-20T15:47:36.499" v="690"/>
        <pc:sldMkLst>
          <pc:docMk/>
          <pc:sldMk cId="4188369865" sldId="2147470055"/>
        </pc:sldMkLst>
      </pc:sldChg>
      <pc:sldChg chg="modSp mod modTransition">
        <pc:chgData name="Alex Powers" userId="ae4a1fc7-4395-46d3-b2f1-3b3c37036ad1" providerId="ADAL" clId="{6EDA56C6-6E90-4EDC-862A-743FE0A97AE9}" dt="2023-03-20T15:47:36.499" v="690"/>
        <pc:sldMkLst>
          <pc:docMk/>
          <pc:sldMk cId="2215071468" sldId="2147470057"/>
        </pc:sldMkLst>
        <pc:spChg chg="mod">
          <ac:chgData name="Alex Powers" userId="ae4a1fc7-4395-46d3-b2f1-3b3c37036ad1" providerId="ADAL" clId="{6EDA56C6-6E90-4EDC-862A-743FE0A97AE9}" dt="2023-03-17T19:59:12.065" v="146" actId="20577"/>
          <ac:spMkLst>
            <pc:docMk/>
            <pc:sldMk cId="2215071468" sldId="2147470057"/>
            <ac:spMk id="2" creationId="{0AF5C69C-4F07-7439-ED0F-F5C314512EEE}"/>
          </ac:spMkLst>
        </pc:spChg>
      </pc:sldChg>
      <pc:sldChg chg="modTransition">
        <pc:chgData name="Alex Powers" userId="ae4a1fc7-4395-46d3-b2f1-3b3c37036ad1" providerId="ADAL" clId="{6EDA56C6-6E90-4EDC-862A-743FE0A97AE9}" dt="2023-03-20T15:47:36.499" v="690"/>
        <pc:sldMkLst>
          <pc:docMk/>
          <pc:sldMk cId="1301839477" sldId="2147470059"/>
        </pc:sldMkLst>
      </pc:sldChg>
      <pc:sldChg chg="modTransition">
        <pc:chgData name="Alex Powers" userId="ae4a1fc7-4395-46d3-b2f1-3b3c37036ad1" providerId="ADAL" clId="{6EDA56C6-6E90-4EDC-862A-743FE0A97AE9}" dt="2023-03-20T15:47:36.499" v="690"/>
        <pc:sldMkLst>
          <pc:docMk/>
          <pc:sldMk cId="1094387869" sldId="2147470060"/>
        </pc:sldMkLst>
      </pc:sldChg>
      <pc:sldChg chg="modSp mod modTransition">
        <pc:chgData name="Alex Powers" userId="ae4a1fc7-4395-46d3-b2f1-3b3c37036ad1" providerId="ADAL" clId="{6EDA56C6-6E90-4EDC-862A-743FE0A97AE9}" dt="2023-03-20T15:47:36.499" v="690"/>
        <pc:sldMkLst>
          <pc:docMk/>
          <pc:sldMk cId="2009408845" sldId="2147470062"/>
        </pc:sldMkLst>
        <pc:spChg chg="mod">
          <ac:chgData name="Alex Powers" userId="ae4a1fc7-4395-46d3-b2f1-3b3c37036ad1" providerId="ADAL" clId="{6EDA56C6-6E90-4EDC-862A-743FE0A97AE9}" dt="2023-03-17T19:59:43.625" v="151" actId="113"/>
          <ac:spMkLst>
            <pc:docMk/>
            <pc:sldMk cId="2009408845" sldId="2147470062"/>
            <ac:spMk id="2" creationId="{973E70A4-87F5-41F9-829A-C4FD21CB3ED8}"/>
          </ac:spMkLst>
        </pc:spChg>
      </pc:sldChg>
      <pc:sldChg chg="modTransition">
        <pc:chgData name="Alex Powers" userId="ae4a1fc7-4395-46d3-b2f1-3b3c37036ad1" providerId="ADAL" clId="{6EDA56C6-6E90-4EDC-862A-743FE0A97AE9}" dt="2023-03-20T15:47:36.499" v="690"/>
        <pc:sldMkLst>
          <pc:docMk/>
          <pc:sldMk cId="187844155" sldId="2147470066"/>
        </pc:sldMkLst>
      </pc:sldChg>
      <pc:sldChg chg="modTransition">
        <pc:chgData name="Alex Powers" userId="ae4a1fc7-4395-46d3-b2f1-3b3c37036ad1" providerId="ADAL" clId="{6EDA56C6-6E90-4EDC-862A-743FE0A97AE9}" dt="2023-03-20T15:47:36.499" v="690"/>
        <pc:sldMkLst>
          <pc:docMk/>
          <pc:sldMk cId="1767361340" sldId="2147470067"/>
        </pc:sldMkLst>
      </pc:sldChg>
      <pc:sldChg chg="add del">
        <pc:chgData name="Alex Powers" userId="ae4a1fc7-4395-46d3-b2f1-3b3c37036ad1" providerId="ADAL" clId="{6EDA56C6-6E90-4EDC-862A-743FE0A97AE9}" dt="2023-03-20T15:19:50.623" v="154" actId="47"/>
        <pc:sldMkLst>
          <pc:docMk/>
          <pc:sldMk cId="660892582" sldId="2147470068"/>
        </pc:sldMkLst>
      </pc:sldChg>
      <pc:sldChg chg="addSp delSp modSp add mod modTransition modShow">
        <pc:chgData name="Alex Powers" userId="ae4a1fc7-4395-46d3-b2f1-3b3c37036ad1" providerId="ADAL" clId="{6EDA56C6-6E90-4EDC-862A-743FE0A97AE9}" dt="2023-03-20T15:47:36.499" v="690"/>
        <pc:sldMkLst>
          <pc:docMk/>
          <pc:sldMk cId="4285767231" sldId="2147470068"/>
        </pc:sldMkLst>
        <pc:spChg chg="add">
          <ac:chgData name="Alex Powers" userId="ae4a1fc7-4395-46d3-b2f1-3b3c37036ad1" providerId="ADAL" clId="{6EDA56C6-6E90-4EDC-862A-743FE0A97AE9}" dt="2023-03-20T15:21:15.559" v="247"/>
          <ac:spMkLst>
            <pc:docMk/>
            <pc:sldMk cId="4285767231" sldId="2147470068"/>
            <ac:spMk id="2" creationId="{90713AE8-6C5E-54F0-C6BD-AA8B5BCC46E6}"/>
          </ac:spMkLst>
        </pc:spChg>
        <pc:spChg chg="mod">
          <ac:chgData name="Alex Powers" userId="ae4a1fc7-4395-46d3-b2f1-3b3c37036ad1" providerId="ADAL" clId="{6EDA56C6-6E90-4EDC-862A-743FE0A97AE9}" dt="2023-03-20T15:22:46.743" v="260" actId="478"/>
          <ac:spMkLst>
            <pc:docMk/>
            <pc:sldMk cId="4285767231" sldId="2147470068"/>
            <ac:spMk id="9" creationId="{0977A2E0-A182-4C11-B815-88B257E1642F}"/>
          </ac:spMkLst>
        </pc:spChg>
        <pc:spChg chg="mod">
          <ac:chgData name="Alex Powers" userId="ae4a1fc7-4395-46d3-b2f1-3b3c37036ad1" providerId="ADAL" clId="{6EDA56C6-6E90-4EDC-862A-743FE0A97AE9}" dt="2023-03-20T15:22:03.914" v="254" actId="478"/>
          <ac:spMkLst>
            <pc:docMk/>
            <pc:sldMk cId="4285767231" sldId="2147470068"/>
            <ac:spMk id="10" creationId="{B0154E7A-9CEF-42E4-9393-76973B939CB7}"/>
          </ac:spMkLst>
        </pc:spChg>
        <pc:spChg chg="mod">
          <ac:chgData name="Alex Powers" userId="ae4a1fc7-4395-46d3-b2f1-3b3c37036ad1" providerId="ADAL" clId="{6EDA56C6-6E90-4EDC-862A-743FE0A97AE9}" dt="2023-03-20T15:20:20.607" v="204" actId="20577"/>
          <ac:spMkLst>
            <pc:docMk/>
            <pc:sldMk cId="4285767231" sldId="2147470068"/>
            <ac:spMk id="13" creationId="{DFBAF52F-56DE-4C76-93B5-061E2811C89D}"/>
          </ac:spMkLst>
        </pc:spChg>
        <pc:grpChg chg="add del mod">
          <ac:chgData name="Alex Powers" userId="ae4a1fc7-4395-46d3-b2f1-3b3c37036ad1" providerId="ADAL" clId="{6EDA56C6-6E90-4EDC-862A-743FE0A97AE9}" dt="2023-03-20T15:22:46.743" v="260" actId="478"/>
          <ac:grpSpMkLst>
            <pc:docMk/>
            <pc:sldMk cId="4285767231" sldId="2147470068"/>
            <ac:grpSpMk id="17" creationId="{4046E838-71DF-4EFA-BE12-033083A30315}"/>
          </ac:grpSpMkLst>
        </pc:grpChg>
        <pc:grpChg chg="del mod">
          <ac:chgData name="Alex Powers" userId="ae4a1fc7-4395-46d3-b2f1-3b3c37036ad1" providerId="ADAL" clId="{6EDA56C6-6E90-4EDC-862A-743FE0A97AE9}" dt="2023-03-20T15:22:03.914" v="254" actId="478"/>
          <ac:grpSpMkLst>
            <pc:docMk/>
            <pc:sldMk cId="4285767231" sldId="2147470068"/>
            <ac:grpSpMk id="18" creationId="{6E940751-367B-49A4-84F9-DBFC74A84358}"/>
          </ac:grpSpMkLst>
        </pc:grpChg>
        <pc:picChg chg="add mod">
          <ac:chgData name="Alex Powers" userId="ae4a1fc7-4395-46d3-b2f1-3b3c37036ad1" providerId="ADAL" clId="{6EDA56C6-6E90-4EDC-862A-743FE0A97AE9}" dt="2023-03-20T15:22:43.208" v="259" actId="1076"/>
          <ac:picMkLst>
            <pc:docMk/>
            <pc:sldMk cId="4285767231" sldId="2147470068"/>
            <ac:picMk id="3" creationId="{EC4A440C-857F-9418-FFBE-47F4DCB1524F}"/>
          </ac:picMkLst>
        </pc:picChg>
        <pc:picChg chg="add mod">
          <ac:chgData name="Alex Powers" userId="ae4a1fc7-4395-46d3-b2f1-3b3c37036ad1" providerId="ADAL" clId="{6EDA56C6-6E90-4EDC-862A-743FE0A97AE9}" dt="2023-03-20T15:21:58.308" v="253" actId="14100"/>
          <ac:picMkLst>
            <pc:docMk/>
            <pc:sldMk cId="4285767231" sldId="2147470068"/>
            <ac:picMk id="1028" creationId="{22A96467-C572-0A08-0E29-9807803A130B}"/>
          </ac:picMkLst>
        </pc:picChg>
        <pc:picChg chg="add del mod">
          <ac:chgData name="Alex Powers" userId="ae4a1fc7-4395-46d3-b2f1-3b3c37036ad1" providerId="ADAL" clId="{6EDA56C6-6E90-4EDC-862A-743FE0A97AE9}" dt="2023-03-20T15:22:46.743" v="260" actId="478"/>
          <ac:picMkLst>
            <pc:docMk/>
            <pc:sldMk cId="4285767231" sldId="2147470068"/>
            <ac:picMk id="1030" creationId="{C95D7207-2937-45B3-97A1-B01C11D9BE4D}"/>
          </ac:picMkLst>
        </pc:picChg>
        <pc:picChg chg="del">
          <ac:chgData name="Alex Powers" userId="ae4a1fc7-4395-46d3-b2f1-3b3c37036ad1" providerId="ADAL" clId="{6EDA56C6-6E90-4EDC-862A-743FE0A97AE9}" dt="2023-03-20T15:22:03.914" v="254" actId="478"/>
          <ac:picMkLst>
            <pc:docMk/>
            <pc:sldMk cId="4285767231" sldId="2147470068"/>
            <ac:picMk id="1032" creationId="{B096ECF5-725B-4483-938B-9E2875FD0F79}"/>
          </ac:picMkLst>
        </pc:picChg>
      </pc:sldChg>
      <pc:sldChg chg="modSp add mod modTransition">
        <pc:chgData name="Alex Powers" userId="ae4a1fc7-4395-46d3-b2f1-3b3c37036ad1" providerId="ADAL" clId="{6EDA56C6-6E90-4EDC-862A-743FE0A97AE9}" dt="2023-03-20T15:47:36.499" v="690"/>
        <pc:sldMkLst>
          <pc:docMk/>
          <pc:sldMk cId="3582717253" sldId="2147470069"/>
        </pc:sldMkLst>
        <pc:spChg chg="mod">
          <ac:chgData name="Alex Powers" userId="ae4a1fc7-4395-46d3-b2f1-3b3c37036ad1" providerId="ADAL" clId="{6EDA56C6-6E90-4EDC-862A-743FE0A97AE9}" dt="2023-03-20T15:24:41.703" v="307" actId="20577"/>
          <ac:spMkLst>
            <pc:docMk/>
            <pc:sldMk cId="3582717253" sldId="2147470069"/>
            <ac:spMk id="3" creationId="{7D784AF8-0564-4CE2-A3F3-ED6D0598904B}"/>
          </ac:spMkLst>
        </pc:spChg>
      </pc:sldChg>
    </pc:docChg>
  </pc:docChgLst>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docChgLst>
    <pc:chgData name="Alex Powers" userId="ae4a1fc7-4395-46d3-b2f1-3b3c37036ad1" providerId="ADAL" clId="{FF07999E-EC8D-435C-95D5-B8CD345C58D7}"/>
    <pc:docChg chg="undo redo custSel addSld delSld modSld sldOrd modSection">
      <pc:chgData name="Alex Powers" userId="ae4a1fc7-4395-46d3-b2f1-3b3c37036ad1" providerId="ADAL" clId="{FF07999E-EC8D-435C-95D5-B8CD345C58D7}" dt="2023-03-08T02:01:03.817" v="4673" actId="20577"/>
      <pc:docMkLst>
        <pc:docMk/>
      </pc:docMkLst>
      <pc:sldChg chg="modSp mod modShow">
        <pc:chgData name="Alex Powers" userId="ae4a1fc7-4395-46d3-b2f1-3b3c37036ad1" providerId="ADAL" clId="{FF07999E-EC8D-435C-95D5-B8CD345C58D7}" dt="2023-03-01T21:58:27.168" v="2322" actId="20577"/>
        <pc:sldMkLst>
          <pc:docMk/>
          <pc:sldMk cId="590324826" sldId="331"/>
        </pc:sldMkLst>
        <pc:graphicFrameChg chg="modGraphic">
          <ac:chgData name="Alex Powers" userId="ae4a1fc7-4395-46d3-b2f1-3b3c37036ad1" providerId="ADAL" clId="{FF07999E-EC8D-435C-95D5-B8CD345C58D7}" dt="2023-03-01T21:58:27.168" v="2322" actId="20577"/>
          <ac:graphicFrameMkLst>
            <pc:docMk/>
            <pc:sldMk cId="590324826" sldId="331"/>
            <ac:graphicFrameMk id="7" creationId="{3E5C1877-83B6-43B2-8D9F-D6B32A5B8BB7}"/>
          </ac:graphicFrameMkLst>
        </pc:graphicFrameChg>
      </pc:sldChg>
      <pc:sldChg chg="mod modShow">
        <pc:chgData name="Alex Powers" userId="ae4a1fc7-4395-46d3-b2f1-3b3c37036ad1" providerId="ADAL" clId="{FF07999E-EC8D-435C-95D5-B8CD345C58D7}" dt="2023-02-08T17:47:18.227" v="68" actId="729"/>
        <pc:sldMkLst>
          <pc:docMk/>
          <pc:sldMk cId="601881036" sldId="361"/>
        </pc:sldMkLst>
      </pc:sldChg>
      <pc:sldChg chg="mod modShow">
        <pc:chgData name="Alex Powers" userId="ae4a1fc7-4395-46d3-b2f1-3b3c37036ad1" providerId="ADAL" clId="{FF07999E-EC8D-435C-95D5-B8CD345C58D7}" dt="2023-03-07T21:25:25.711" v="4573" actId="729"/>
        <pc:sldMkLst>
          <pc:docMk/>
          <pc:sldMk cId="640778274" sldId="376"/>
        </pc:sldMkLst>
      </pc:sldChg>
      <pc:sldChg chg="del">
        <pc:chgData name="Alex Powers" userId="ae4a1fc7-4395-46d3-b2f1-3b3c37036ad1" providerId="ADAL" clId="{FF07999E-EC8D-435C-95D5-B8CD345C58D7}" dt="2023-02-08T17:50:24.620" v="85" actId="47"/>
        <pc:sldMkLst>
          <pc:docMk/>
          <pc:sldMk cId="3586899211" sldId="565"/>
        </pc:sldMkLst>
      </pc:sldChg>
      <pc:sldChg chg="mod modShow">
        <pc:chgData name="Alex Powers" userId="ae4a1fc7-4395-46d3-b2f1-3b3c37036ad1" providerId="ADAL" clId="{FF07999E-EC8D-435C-95D5-B8CD345C58D7}" dt="2023-03-07T21:25:25.711" v="4573" actId="729"/>
        <pc:sldMkLst>
          <pc:docMk/>
          <pc:sldMk cId="2491205377" sldId="2357"/>
        </pc:sldMkLst>
      </pc:sldChg>
      <pc:sldChg chg="mod modShow">
        <pc:chgData name="Alex Powers" userId="ae4a1fc7-4395-46d3-b2f1-3b3c37036ad1" providerId="ADAL" clId="{FF07999E-EC8D-435C-95D5-B8CD345C58D7}" dt="2023-03-07T21:25:25.711" v="4573" actId="729"/>
        <pc:sldMkLst>
          <pc:docMk/>
          <pc:sldMk cId="2684666586" sldId="2358"/>
        </pc:sldMkLst>
      </pc:sldChg>
      <pc:sldChg chg="del">
        <pc:chgData name="Alex Powers" userId="ae4a1fc7-4395-46d3-b2f1-3b3c37036ad1" providerId="ADAL" clId="{FF07999E-EC8D-435C-95D5-B8CD345C58D7}" dt="2023-02-08T17:03:52.570" v="2" actId="47"/>
        <pc:sldMkLst>
          <pc:docMk/>
          <pc:sldMk cId="1138756251" sldId="2076137603"/>
        </pc:sldMkLst>
      </pc:sldChg>
      <pc:sldChg chg="mod modShow">
        <pc:chgData name="Alex Powers" userId="ae4a1fc7-4395-46d3-b2f1-3b3c37036ad1" providerId="ADAL" clId="{FF07999E-EC8D-435C-95D5-B8CD345C58D7}" dt="2023-03-07T21:25:25.711" v="4573" actId="729"/>
        <pc:sldMkLst>
          <pc:docMk/>
          <pc:sldMk cId="368905041" sldId="2134805321"/>
        </pc:sldMkLst>
      </pc:sldChg>
      <pc:sldChg chg="addSp delSp modSp mod">
        <pc:chgData name="Alex Powers" userId="ae4a1fc7-4395-46d3-b2f1-3b3c37036ad1" providerId="ADAL" clId="{FF07999E-EC8D-435C-95D5-B8CD345C58D7}" dt="2023-03-03T16:45:25.029" v="3539" actId="1076"/>
        <pc:sldMkLst>
          <pc:docMk/>
          <pc:sldMk cId="1827504476" sldId="2134805339"/>
        </pc:sldMkLst>
        <pc:spChg chg="mod">
          <ac:chgData name="Alex Powers" userId="ae4a1fc7-4395-46d3-b2f1-3b3c37036ad1" providerId="ADAL" clId="{FF07999E-EC8D-435C-95D5-B8CD345C58D7}" dt="2023-03-02T00:57:35.583" v="2332" actId="20577"/>
          <ac:spMkLst>
            <pc:docMk/>
            <pc:sldMk cId="1827504476" sldId="2134805339"/>
            <ac:spMk id="51" creationId="{1E84D47B-CAAB-4150-8848-B4671587EFD5}"/>
          </ac:spMkLst>
        </pc:spChg>
        <pc:spChg chg="del">
          <ac:chgData name="Alex Powers" userId="ae4a1fc7-4395-46d3-b2f1-3b3c37036ad1" providerId="ADAL" clId="{FF07999E-EC8D-435C-95D5-B8CD345C58D7}" dt="2023-03-03T16:45:20.868" v="3538" actId="478"/>
          <ac:spMkLst>
            <pc:docMk/>
            <pc:sldMk cId="1827504476" sldId="2134805339"/>
            <ac:spMk id="65" creationId="{98ECB16D-486B-4121-9027-D311CB8344F9}"/>
          </ac:spMkLst>
        </pc:spChg>
        <pc:picChg chg="mod">
          <ac:chgData name="Alex Powers" userId="ae4a1fc7-4395-46d3-b2f1-3b3c37036ad1" providerId="ADAL" clId="{FF07999E-EC8D-435C-95D5-B8CD345C58D7}" dt="2023-03-03T16:45:25.029" v="3539" actId="1076"/>
          <ac:picMkLst>
            <pc:docMk/>
            <pc:sldMk cId="1827504476" sldId="2134805339"/>
            <ac:picMk id="7" creationId="{7F06E1A9-0A28-4317-A6FA-7D4C9B48E363}"/>
          </ac:picMkLst>
        </pc:picChg>
        <pc:picChg chg="add mod">
          <ac:chgData name="Alex Powers" userId="ae4a1fc7-4395-46d3-b2f1-3b3c37036ad1" providerId="ADAL" clId="{FF07999E-EC8D-435C-95D5-B8CD345C58D7}" dt="2023-03-03T13:34:44.809" v="3393" actId="1076"/>
          <ac:picMkLst>
            <pc:docMk/>
            <pc:sldMk cId="1827504476" sldId="2134805339"/>
            <ac:picMk id="22" creationId="{52836229-B82F-B4BB-951A-3F428D115AE4}"/>
          </ac:picMkLst>
        </pc:picChg>
      </pc:sldChg>
      <pc:sldChg chg="mod modShow">
        <pc:chgData name="Alex Powers" userId="ae4a1fc7-4395-46d3-b2f1-3b3c37036ad1" providerId="ADAL" clId="{FF07999E-EC8D-435C-95D5-B8CD345C58D7}" dt="2023-03-07T21:25:25.711" v="4573" actId="729"/>
        <pc:sldMkLst>
          <pc:docMk/>
          <pc:sldMk cId="1411610020" sldId="2134805371"/>
        </pc:sldMkLst>
      </pc:sldChg>
      <pc:sldChg chg="modSp mod">
        <pc:chgData name="Alex Powers" userId="ae4a1fc7-4395-46d3-b2f1-3b3c37036ad1" providerId="ADAL" clId="{FF07999E-EC8D-435C-95D5-B8CD345C58D7}" dt="2023-03-03T13:31:45.108" v="3354" actId="14100"/>
        <pc:sldMkLst>
          <pc:docMk/>
          <pc:sldMk cId="1661102681" sldId="2134805399"/>
        </pc:sldMkLst>
        <pc:spChg chg="mod">
          <ac:chgData name="Alex Powers" userId="ae4a1fc7-4395-46d3-b2f1-3b3c37036ad1" providerId="ADAL" clId="{FF07999E-EC8D-435C-95D5-B8CD345C58D7}" dt="2023-03-03T13:31:45.108" v="3354" actId="14100"/>
          <ac:spMkLst>
            <pc:docMk/>
            <pc:sldMk cId="1661102681" sldId="2134805399"/>
            <ac:spMk id="7" creationId="{B8369A30-A814-46DD-ABF0-B1D8C1BF2832}"/>
          </ac:spMkLst>
        </pc:spChg>
      </pc:sldChg>
      <pc:sldChg chg="del">
        <pc:chgData name="Alex Powers" userId="ae4a1fc7-4395-46d3-b2f1-3b3c37036ad1" providerId="ADAL" clId="{FF07999E-EC8D-435C-95D5-B8CD345C58D7}" dt="2023-02-22T16:25:17.586" v="1880" actId="47"/>
        <pc:sldMkLst>
          <pc:docMk/>
          <pc:sldMk cId="1452591508" sldId="2134805404"/>
        </pc:sldMkLst>
      </pc:sldChg>
      <pc:sldChg chg="del">
        <pc:chgData name="Alex Powers" userId="ae4a1fc7-4395-46d3-b2f1-3b3c37036ad1" providerId="ADAL" clId="{FF07999E-EC8D-435C-95D5-B8CD345C58D7}" dt="2023-02-22T16:25:16.675" v="1879" actId="47"/>
        <pc:sldMkLst>
          <pc:docMk/>
          <pc:sldMk cId="4224301615" sldId="2134805407"/>
        </pc:sldMkLst>
      </pc:sldChg>
      <pc:sldChg chg="del">
        <pc:chgData name="Alex Powers" userId="ae4a1fc7-4395-46d3-b2f1-3b3c37036ad1" providerId="ADAL" clId="{FF07999E-EC8D-435C-95D5-B8CD345C58D7}" dt="2023-02-22T16:25:19.450" v="1881" actId="47"/>
        <pc:sldMkLst>
          <pc:docMk/>
          <pc:sldMk cId="1684121068" sldId="2134805408"/>
        </pc:sldMkLst>
      </pc:sldChg>
      <pc:sldChg chg="del">
        <pc:chgData name="Alex Powers" userId="ae4a1fc7-4395-46d3-b2f1-3b3c37036ad1" providerId="ADAL" clId="{FF07999E-EC8D-435C-95D5-B8CD345C58D7}" dt="2023-02-22T16:25:36.996" v="1883" actId="47"/>
        <pc:sldMkLst>
          <pc:docMk/>
          <pc:sldMk cId="1236192882" sldId="2134805427"/>
        </pc:sldMkLst>
      </pc:sldChg>
      <pc:sldChg chg="del">
        <pc:chgData name="Alex Powers" userId="ae4a1fc7-4395-46d3-b2f1-3b3c37036ad1" providerId="ADAL" clId="{FF07999E-EC8D-435C-95D5-B8CD345C58D7}" dt="2023-02-22T16:25:37.986" v="1884" actId="47"/>
        <pc:sldMkLst>
          <pc:docMk/>
          <pc:sldMk cId="3523418712" sldId="2134805428"/>
        </pc:sldMkLst>
      </pc:sldChg>
      <pc:sldChg chg="del">
        <pc:chgData name="Alex Powers" userId="ae4a1fc7-4395-46d3-b2f1-3b3c37036ad1" providerId="ADAL" clId="{FF07999E-EC8D-435C-95D5-B8CD345C58D7}" dt="2023-02-22T16:26:35.368" v="1912" actId="47"/>
        <pc:sldMkLst>
          <pc:docMk/>
          <pc:sldMk cId="555395467" sldId="2134805429"/>
        </pc:sldMkLst>
      </pc:sldChg>
      <pc:sldChg chg="mod modShow">
        <pc:chgData name="Alex Powers" userId="ae4a1fc7-4395-46d3-b2f1-3b3c37036ad1" providerId="ADAL" clId="{FF07999E-EC8D-435C-95D5-B8CD345C58D7}" dt="2023-02-22T16:33:13.887" v="2020" actId="729"/>
        <pc:sldMkLst>
          <pc:docMk/>
          <pc:sldMk cId="1447329896" sldId="2134805434"/>
        </pc:sldMkLst>
      </pc:sldChg>
      <pc:sldChg chg="mod modShow">
        <pc:chgData name="Alex Powers" userId="ae4a1fc7-4395-46d3-b2f1-3b3c37036ad1" providerId="ADAL" clId="{FF07999E-EC8D-435C-95D5-B8CD345C58D7}" dt="2023-02-22T16:33:13.887" v="2020" actId="729"/>
        <pc:sldMkLst>
          <pc:docMk/>
          <pc:sldMk cId="3555961925" sldId="2134805436"/>
        </pc:sldMkLst>
      </pc:sldChg>
      <pc:sldChg chg="mod modShow">
        <pc:chgData name="Alex Powers" userId="ae4a1fc7-4395-46d3-b2f1-3b3c37036ad1" providerId="ADAL" clId="{FF07999E-EC8D-435C-95D5-B8CD345C58D7}" dt="2023-02-22T16:33:13.887" v="2020" actId="729"/>
        <pc:sldMkLst>
          <pc:docMk/>
          <pc:sldMk cId="3126994866" sldId="2134805438"/>
        </pc:sldMkLst>
      </pc:sldChg>
      <pc:sldChg chg="mod modShow">
        <pc:chgData name="Alex Powers" userId="ae4a1fc7-4395-46d3-b2f1-3b3c37036ad1" providerId="ADAL" clId="{FF07999E-EC8D-435C-95D5-B8CD345C58D7}" dt="2023-02-22T16:33:13.887" v="2020" actId="729"/>
        <pc:sldMkLst>
          <pc:docMk/>
          <pc:sldMk cId="1875689356" sldId="2134805439"/>
        </pc:sldMkLst>
      </pc:sldChg>
      <pc:sldChg chg="mod modShow">
        <pc:chgData name="Alex Powers" userId="ae4a1fc7-4395-46d3-b2f1-3b3c37036ad1" providerId="ADAL" clId="{FF07999E-EC8D-435C-95D5-B8CD345C58D7}" dt="2023-02-22T16:33:13.887" v="2020" actId="729"/>
        <pc:sldMkLst>
          <pc:docMk/>
          <pc:sldMk cId="252357223" sldId="2134805440"/>
        </pc:sldMkLst>
      </pc:sldChg>
      <pc:sldChg chg="mod modShow">
        <pc:chgData name="Alex Powers" userId="ae4a1fc7-4395-46d3-b2f1-3b3c37036ad1" providerId="ADAL" clId="{FF07999E-EC8D-435C-95D5-B8CD345C58D7}" dt="2023-02-22T16:33:13.887" v="2020" actId="729"/>
        <pc:sldMkLst>
          <pc:docMk/>
          <pc:sldMk cId="188611118" sldId="2134805441"/>
        </pc:sldMkLst>
      </pc:sldChg>
      <pc:sldChg chg="mod modShow">
        <pc:chgData name="Alex Powers" userId="ae4a1fc7-4395-46d3-b2f1-3b3c37036ad1" providerId="ADAL" clId="{FF07999E-EC8D-435C-95D5-B8CD345C58D7}" dt="2023-02-22T16:33:13.887" v="2020" actId="729"/>
        <pc:sldMkLst>
          <pc:docMk/>
          <pc:sldMk cId="2918814522" sldId="2134805442"/>
        </pc:sldMkLst>
      </pc:sldChg>
      <pc:sldChg chg="mod modShow">
        <pc:chgData name="Alex Powers" userId="ae4a1fc7-4395-46d3-b2f1-3b3c37036ad1" providerId="ADAL" clId="{FF07999E-EC8D-435C-95D5-B8CD345C58D7}" dt="2023-02-22T16:33:13.887" v="2020" actId="729"/>
        <pc:sldMkLst>
          <pc:docMk/>
          <pc:sldMk cId="697804203" sldId="2134805445"/>
        </pc:sldMkLst>
      </pc:sldChg>
      <pc:sldChg chg="add del">
        <pc:chgData name="Alex Powers" userId="ae4a1fc7-4395-46d3-b2f1-3b3c37036ad1" providerId="ADAL" clId="{FF07999E-EC8D-435C-95D5-B8CD345C58D7}" dt="2023-02-22T16:19:05.427" v="1744" actId="47"/>
        <pc:sldMkLst>
          <pc:docMk/>
          <pc:sldMk cId="350747172" sldId="2134805454"/>
        </pc:sldMkLst>
      </pc:sldChg>
      <pc:sldChg chg="del">
        <pc:chgData name="Alex Powers" userId="ae4a1fc7-4395-46d3-b2f1-3b3c37036ad1" providerId="ADAL" clId="{FF07999E-EC8D-435C-95D5-B8CD345C58D7}" dt="2023-02-22T16:17:50.196" v="1703" actId="2696"/>
        <pc:sldMkLst>
          <pc:docMk/>
          <pc:sldMk cId="3948095550" sldId="2134805454"/>
        </pc:sldMkLst>
      </pc:sldChg>
      <pc:sldChg chg="del">
        <pc:chgData name="Alex Powers" userId="ae4a1fc7-4395-46d3-b2f1-3b3c37036ad1" providerId="ADAL" clId="{FF07999E-EC8D-435C-95D5-B8CD345C58D7}" dt="2023-02-22T16:27:15.526" v="1913" actId="47"/>
        <pc:sldMkLst>
          <pc:docMk/>
          <pc:sldMk cId="4266689250" sldId="2134805455"/>
        </pc:sldMkLst>
      </pc:sldChg>
      <pc:sldChg chg="mod modShow">
        <pc:chgData name="Alex Powers" userId="ae4a1fc7-4395-46d3-b2f1-3b3c37036ad1" providerId="ADAL" clId="{FF07999E-EC8D-435C-95D5-B8CD345C58D7}" dt="2023-02-22T16:33:13.887" v="2020" actId="729"/>
        <pc:sldMkLst>
          <pc:docMk/>
          <pc:sldMk cId="113089927" sldId="2134805457"/>
        </pc:sldMkLst>
      </pc:sldChg>
      <pc:sldChg chg="del">
        <pc:chgData name="Alex Powers" userId="ae4a1fc7-4395-46d3-b2f1-3b3c37036ad1" providerId="ADAL" clId="{FF07999E-EC8D-435C-95D5-B8CD345C58D7}" dt="2023-02-22T16:33:09.060" v="2019" actId="47"/>
        <pc:sldMkLst>
          <pc:docMk/>
          <pc:sldMk cId="3213304739" sldId="2134805458"/>
        </pc:sldMkLst>
      </pc:sldChg>
      <pc:sldChg chg="del">
        <pc:chgData name="Alex Powers" userId="ae4a1fc7-4395-46d3-b2f1-3b3c37036ad1" providerId="ADAL" clId="{FF07999E-EC8D-435C-95D5-B8CD345C58D7}" dt="2023-02-22T16:25:24.201" v="1882" actId="47"/>
        <pc:sldMkLst>
          <pc:docMk/>
          <pc:sldMk cId="1140774100" sldId="2134805470"/>
        </pc:sldMkLst>
      </pc:sldChg>
      <pc:sldChg chg="add">
        <pc:chgData name="Alex Powers" userId="ae4a1fc7-4395-46d3-b2f1-3b3c37036ad1" providerId="ADAL" clId="{FF07999E-EC8D-435C-95D5-B8CD345C58D7}" dt="2023-02-22T16:29:59.457" v="1915"/>
        <pc:sldMkLst>
          <pc:docMk/>
          <pc:sldMk cId="679191079" sldId="2134805471"/>
        </pc:sldMkLst>
      </pc:sldChg>
      <pc:sldChg chg="del mod modShow">
        <pc:chgData name="Alex Powers" userId="ae4a1fc7-4395-46d3-b2f1-3b3c37036ad1" providerId="ADAL" clId="{FF07999E-EC8D-435C-95D5-B8CD345C58D7}" dt="2023-02-22T16:29:54.032" v="1914" actId="2696"/>
        <pc:sldMkLst>
          <pc:docMk/>
          <pc:sldMk cId="1134581134" sldId="2134805471"/>
        </pc:sldMkLst>
      </pc:sldChg>
      <pc:sldChg chg="mod modShow">
        <pc:chgData name="Alex Powers" userId="ae4a1fc7-4395-46d3-b2f1-3b3c37036ad1" providerId="ADAL" clId="{FF07999E-EC8D-435C-95D5-B8CD345C58D7}" dt="2023-02-22T16:33:13.887" v="2020" actId="729"/>
        <pc:sldMkLst>
          <pc:docMk/>
          <pc:sldMk cId="1494664179" sldId="2134805473"/>
        </pc:sldMkLst>
      </pc:sldChg>
      <pc:sldChg chg="mod modShow">
        <pc:chgData name="Alex Powers" userId="ae4a1fc7-4395-46d3-b2f1-3b3c37036ad1" providerId="ADAL" clId="{FF07999E-EC8D-435C-95D5-B8CD345C58D7}" dt="2023-02-22T16:33:13.887" v="2020" actId="729"/>
        <pc:sldMkLst>
          <pc:docMk/>
          <pc:sldMk cId="3447445929" sldId="2134805475"/>
        </pc:sldMkLst>
      </pc:sldChg>
      <pc:sldChg chg="mod modShow">
        <pc:chgData name="Alex Powers" userId="ae4a1fc7-4395-46d3-b2f1-3b3c37036ad1" providerId="ADAL" clId="{FF07999E-EC8D-435C-95D5-B8CD345C58D7}" dt="2023-02-22T16:33:13.887" v="2020" actId="729"/>
        <pc:sldMkLst>
          <pc:docMk/>
          <pc:sldMk cId="2782444101" sldId="2134805477"/>
        </pc:sldMkLst>
      </pc:sldChg>
      <pc:sldChg chg="mod modShow">
        <pc:chgData name="Alex Powers" userId="ae4a1fc7-4395-46d3-b2f1-3b3c37036ad1" providerId="ADAL" clId="{FF07999E-EC8D-435C-95D5-B8CD345C58D7}" dt="2023-02-22T16:33:13.887" v="2020" actId="729"/>
        <pc:sldMkLst>
          <pc:docMk/>
          <pc:sldMk cId="38038148" sldId="2134805478"/>
        </pc:sldMkLst>
      </pc:sldChg>
      <pc:sldChg chg="mod modShow">
        <pc:chgData name="Alex Powers" userId="ae4a1fc7-4395-46d3-b2f1-3b3c37036ad1" providerId="ADAL" clId="{FF07999E-EC8D-435C-95D5-B8CD345C58D7}" dt="2023-02-22T16:33:13.887" v="2020" actId="729"/>
        <pc:sldMkLst>
          <pc:docMk/>
          <pc:sldMk cId="1402513152" sldId="2134805479"/>
        </pc:sldMkLst>
      </pc:sldChg>
      <pc:sldChg chg="mod modShow">
        <pc:chgData name="Alex Powers" userId="ae4a1fc7-4395-46d3-b2f1-3b3c37036ad1" providerId="ADAL" clId="{FF07999E-EC8D-435C-95D5-B8CD345C58D7}" dt="2023-02-22T16:33:13.887" v="2020" actId="729"/>
        <pc:sldMkLst>
          <pc:docMk/>
          <pc:sldMk cId="1633839032" sldId="2134805481"/>
        </pc:sldMkLst>
      </pc:sldChg>
      <pc:sldChg chg="del">
        <pc:chgData name="Alex Powers" userId="ae4a1fc7-4395-46d3-b2f1-3b3c37036ad1" providerId="ADAL" clId="{FF07999E-EC8D-435C-95D5-B8CD345C58D7}" dt="2023-02-22T16:27:15.526" v="1913" actId="47"/>
        <pc:sldMkLst>
          <pc:docMk/>
          <pc:sldMk cId="3396232222" sldId="2134805485"/>
        </pc:sldMkLst>
      </pc:sldChg>
      <pc:sldChg chg="del">
        <pc:chgData name="Alex Powers" userId="ae4a1fc7-4395-46d3-b2f1-3b3c37036ad1" providerId="ADAL" clId="{FF07999E-EC8D-435C-95D5-B8CD345C58D7}" dt="2023-02-22T16:27:15.526" v="1913" actId="47"/>
        <pc:sldMkLst>
          <pc:docMk/>
          <pc:sldMk cId="2755891878" sldId="2134805486"/>
        </pc:sldMkLst>
      </pc:sldChg>
      <pc:sldChg chg="del">
        <pc:chgData name="Alex Powers" userId="ae4a1fc7-4395-46d3-b2f1-3b3c37036ad1" providerId="ADAL" clId="{FF07999E-EC8D-435C-95D5-B8CD345C58D7}" dt="2023-02-22T16:27:15.526" v="1913" actId="47"/>
        <pc:sldMkLst>
          <pc:docMk/>
          <pc:sldMk cId="3743793355" sldId="2134805487"/>
        </pc:sldMkLst>
      </pc:sldChg>
      <pc:sldChg chg="del">
        <pc:chgData name="Alex Powers" userId="ae4a1fc7-4395-46d3-b2f1-3b3c37036ad1" providerId="ADAL" clId="{FF07999E-EC8D-435C-95D5-B8CD345C58D7}" dt="2023-02-22T16:27:15.526" v="1913" actId="47"/>
        <pc:sldMkLst>
          <pc:docMk/>
          <pc:sldMk cId="538353258" sldId="2134805488"/>
        </pc:sldMkLst>
      </pc:sldChg>
      <pc:sldChg chg="del ord">
        <pc:chgData name="Alex Powers" userId="ae4a1fc7-4395-46d3-b2f1-3b3c37036ad1" providerId="ADAL" clId="{FF07999E-EC8D-435C-95D5-B8CD345C58D7}" dt="2023-02-22T14:16:17.603" v="1550" actId="47"/>
        <pc:sldMkLst>
          <pc:docMk/>
          <pc:sldMk cId="1602923206" sldId="2134805493"/>
        </pc:sldMkLst>
      </pc:sldChg>
      <pc:sldChg chg="mod modShow">
        <pc:chgData name="Alex Powers" userId="ae4a1fc7-4395-46d3-b2f1-3b3c37036ad1" providerId="ADAL" clId="{FF07999E-EC8D-435C-95D5-B8CD345C58D7}" dt="2023-02-22T16:33:13.887" v="2020" actId="729"/>
        <pc:sldMkLst>
          <pc:docMk/>
          <pc:sldMk cId="3894753594" sldId="2134805500"/>
        </pc:sldMkLst>
      </pc:sldChg>
      <pc:sldChg chg="mod modShow">
        <pc:chgData name="Alex Powers" userId="ae4a1fc7-4395-46d3-b2f1-3b3c37036ad1" providerId="ADAL" clId="{FF07999E-EC8D-435C-95D5-B8CD345C58D7}" dt="2023-02-22T16:33:13.887" v="2020" actId="729"/>
        <pc:sldMkLst>
          <pc:docMk/>
          <pc:sldMk cId="3794170958" sldId="2134805501"/>
        </pc:sldMkLst>
      </pc:sldChg>
      <pc:sldChg chg="modSp">
        <pc:chgData name="Alex Powers" userId="ae4a1fc7-4395-46d3-b2f1-3b3c37036ad1" providerId="ADAL" clId="{FF07999E-EC8D-435C-95D5-B8CD345C58D7}" dt="2023-02-08T17:03:33.348" v="1" actId="20577"/>
        <pc:sldMkLst>
          <pc:docMk/>
          <pc:sldMk cId="4206370663" sldId="2147469889"/>
        </pc:sldMkLst>
        <pc:spChg chg="mod">
          <ac:chgData name="Alex Powers" userId="ae4a1fc7-4395-46d3-b2f1-3b3c37036ad1" providerId="ADAL" clId="{FF07999E-EC8D-435C-95D5-B8CD345C58D7}" dt="2023-02-08T17:03:33.348" v="1" actId="20577"/>
          <ac:spMkLst>
            <pc:docMk/>
            <pc:sldMk cId="4206370663" sldId="2147469889"/>
            <ac:spMk id="4" creationId="{2BA66311-60F0-7F41-AFFC-679A90C63D53}"/>
          </ac:spMkLst>
        </pc:spChg>
      </pc:sldChg>
      <pc:sldChg chg="addSp delSp modSp mod delAnim modAnim">
        <pc:chgData name="Alex Powers" userId="ae4a1fc7-4395-46d3-b2f1-3b3c37036ad1" providerId="ADAL" clId="{FF07999E-EC8D-435C-95D5-B8CD345C58D7}" dt="2023-03-03T17:48:07.157" v="4569"/>
        <pc:sldMkLst>
          <pc:docMk/>
          <pc:sldMk cId="2306054761" sldId="2147469912"/>
        </pc:sldMkLst>
        <pc:spChg chg="mod">
          <ac:chgData name="Alex Powers" userId="ae4a1fc7-4395-46d3-b2f1-3b3c37036ad1" providerId="ADAL" clId="{FF07999E-EC8D-435C-95D5-B8CD345C58D7}" dt="2023-03-03T17:22:47.944" v="4546" actId="14100"/>
          <ac:spMkLst>
            <pc:docMk/>
            <pc:sldMk cId="2306054761" sldId="2147469912"/>
            <ac:spMk id="4" creationId="{D4917F3F-DCCF-4C8F-B2BF-8DFC2DD1037A}"/>
          </ac:spMkLst>
        </pc:spChg>
        <pc:spChg chg="add mod">
          <ac:chgData name="Alex Powers" userId="ae4a1fc7-4395-46d3-b2f1-3b3c37036ad1" providerId="ADAL" clId="{FF07999E-EC8D-435C-95D5-B8CD345C58D7}" dt="2023-03-03T13:06:42.250" v="2734" actId="14100"/>
          <ac:spMkLst>
            <pc:docMk/>
            <pc:sldMk cId="2306054761" sldId="2147469912"/>
            <ac:spMk id="19" creationId="{C9E4195A-C6CD-3E76-EE13-C54500180E68}"/>
          </ac:spMkLst>
        </pc:spChg>
        <pc:spChg chg="add del">
          <ac:chgData name="Alex Powers" userId="ae4a1fc7-4395-46d3-b2f1-3b3c37036ad1" providerId="ADAL" clId="{FF07999E-EC8D-435C-95D5-B8CD345C58D7}" dt="2023-03-02T23:04:23.811" v="2377" actId="22"/>
          <ac:spMkLst>
            <pc:docMk/>
            <pc:sldMk cId="2306054761" sldId="2147469912"/>
            <ac:spMk id="22" creationId="{B4BB5A73-96A3-CBEB-EAF4-5F7F58506D0E}"/>
          </ac:spMkLst>
        </pc:spChg>
        <pc:spChg chg="add mod">
          <ac:chgData name="Alex Powers" userId="ae4a1fc7-4395-46d3-b2f1-3b3c37036ad1" providerId="ADAL" clId="{FF07999E-EC8D-435C-95D5-B8CD345C58D7}" dt="2023-03-02T23:10:24.492" v="2437" actId="1076"/>
          <ac:spMkLst>
            <pc:docMk/>
            <pc:sldMk cId="2306054761" sldId="2147469912"/>
            <ac:spMk id="35" creationId="{6136A4E3-4C1E-9BE5-4F0C-E5A7EFD4CCC1}"/>
          </ac:spMkLst>
        </pc:spChg>
        <pc:spChg chg="add mod">
          <ac:chgData name="Alex Powers" userId="ae4a1fc7-4395-46d3-b2f1-3b3c37036ad1" providerId="ADAL" clId="{FF07999E-EC8D-435C-95D5-B8CD345C58D7}" dt="2023-03-02T23:11:07.293" v="2448" actId="408"/>
          <ac:spMkLst>
            <pc:docMk/>
            <pc:sldMk cId="2306054761" sldId="2147469912"/>
            <ac:spMk id="36" creationId="{43B55331-BB16-CE4E-BBA8-C0EF1BBBAADE}"/>
          </ac:spMkLst>
        </pc:spChg>
        <pc:spChg chg="add mod">
          <ac:chgData name="Alex Powers" userId="ae4a1fc7-4395-46d3-b2f1-3b3c37036ad1" providerId="ADAL" clId="{FF07999E-EC8D-435C-95D5-B8CD345C58D7}" dt="2023-03-02T23:10:38.351" v="2441" actId="1076"/>
          <ac:spMkLst>
            <pc:docMk/>
            <pc:sldMk cId="2306054761" sldId="2147469912"/>
            <ac:spMk id="37" creationId="{9531C151-EECE-61AF-D367-3B8413F62639}"/>
          </ac:spMkLst>
        </pc:spChg>
        <pc:spChg chg="add mod">
          <ac:chgData name="Alex Powers" userId="ae4a1fc7-4395-46d3-b2f1-3b3c37036ad1" providerId="ADAL" clId="{FF07999E-EC8D-435C-95D5-B8CD345C58D7}" dt="2023-03-02T23:13:43.406" v="2470" actId="14100"/>
          <ac:spMkLst>
            <pc:docMk/>
            <pc:sldMk cId="2306054761" sldId="2147469912"/>
            <ac:spMk id="43" creationId="{25498F5A-C8C0-6D4D-B63C-C32F35AD4406}"/>
          </ac:spMkLst>
        </pc:spChg>
        <pc:spChg chg="mod">
          <ac:chgData name="Alex Powers" userId="ae4a1fc7-4395-46d3-b2f1-3b3c37036ad1" providerId="ADAL" clId="{FF07999E-EC8D-435C-95D5-B8CD345C58D7}" dt="2023-03-03T12:57:08.919" v="2646" actId="1076"/>
          <ac:spMkLst>
            <pc:docMk/>
            <pc:sldMk cId="2306054761" sldId="2147469912"/>
            <ac:spMk id="49" creationId="{75698A19-DE75-F952-158A-CB65CED09CD6}"/>
          </ac:spMkLst>
        </pc:spChg>
        <pc:spChg chg="mod">
          <ac:chgData name="Alex Powers" userId="ae4a1fc7-4395-46d3-b2f1-3b3c37036ad1" providerId="ADAL" clId="{FF07999E-EC8D-435C-95D5-B8CD345C58D7}" dt="2023-03-03T12:57:32.279" v="2648" actId="1076"/>
          <ac:spMkLst>
            <pc:docMk/>
            <pc:sldMk cId="2306054761" sldId="2147469912"/>
            <ac:spMk id="54" creationId="{DBE0A322-697C-3693-866E-18E49225D6F0}"/>
          </ac:spMkLst>
        </pc:spChg>
        <pc:spChg chg="mod">
          <ac:chgData name="Alex Powers" userId="ae4a1fc7-4395-46d3-b2f1-3b3c37036ad1" providerId="ADAL" clId="{FF07999E-EC8D-435C-95D5-B8CD345C58D7}" dt="2023-03-03T13:23:43.593" v="3249" actId="1076"/>
          <ac:spMkLst>
            <pc:docMk/>
            <pc:sldMk cId="2306054761" sldId="2147469912"/>
            <ac:spMk id="59" creationId="{38EF8836-699E-7DC0-3D29-56BBF74E41AB}"/>
          </ac:spMkLst>
        </pc:spChg>
        <pc:spChg chg="mod topLvl">
          <ac:chgData name="Alex Powers" userId="ae4a1fc7-4395-46d3-b2f1-3b3c37036ad1" providerId="ADAL" clId="{FF07999E-EC8D-435C-95D5-B8CD345C58D7}" dt="2023-03-02T23:15:13.357" v="2486" actId="14100"/>
          <ac:spMkLst>
            <pc:docMk/>
            <pc:sldMk cId="2306054761" sldId="2147469912"/>
            <ac:spMk id="1024" creationId="{62C43127-D7A5-5D4E-74AE-AA52023E3B28}"/>
          </ac:spMkLst>
        </pc:spChg>
        <pc:spChg chg="add del mod">
          <ac:chgData name="Alex Powers" userId="ae4a1fc7-4395-46d3-b2f1-3b3c37036ad1" providerId="ADAL" clId="{FF07999E-EC8D-435C-95D5-B8CD345C58D7}" dt="2023-03-03T12:53:24.837" v="2611" actId="478"/>
          <ac:spMkLst>
            <pc:docMk/>
            <pc:sldMk cId="2306054761" sldId="2147469912"/>
            <ac:spMk id="1046" creationId="{EC74DCAE-EB2E-CC77-05ED-E18378039DE8}"/>
          </ac:spMkLst>
        </pc:spChg>
        <pc:spChg chg="add mod">
          <ac:chgData name="Alex Powers" userId="ae4a1fc7-4395-46d3-b2f1-3b3c37036ad1" providerId="ADAL" clId="{FF07999E-EC8D-435C-95D5-B8CD345C58D7}" dt="2023-03-03T12:53:34.830" v="2614" actId="20577"/>
          <ac:spMkLst>
            <pc:docMk/>
            <pc:sldMk cId="2306054761" sldId="2147469912"/>
            <ac:spMk id="1047" creationId="{8C824E53-148E-23CF-1C28-7A4AE314980F}"/>
          </ac:spMkLst>
        </pc:spChg>
        <pc:spChg chg="add mod">
          <ac:chgData name="Alex Powers" userId="ae4a1fc7-4395-46d3-b2f1-3b3c37036ad1" providerId="ADAL" clId="{FF07999E-EC8D-435C-95D5-B8CD345C58D7}" dt="2023-03-03T12:53:56.764" v="2619" actId="1076"/>
          <ac:spMkLst>
            <pc:docMk/>
            <pc:sldMk cId="2306054761" sldId="2147469912"/>
            <ac:spMk id="1048" creationId="{757DA3A8-771A-C857-7983-BDBFF1FD3D22}"/>
          </ac:spMkLst>
        </pc:spChg>
        <pc:spChg chg="add mod">
          <ac:chgData name="Alex Powers" userId="ae4a1fc7-4395-46d3-b2f1-3b3c37036ad1" providerId="ADAL" clId="{FF07999E-EC8D-435C-95D5-B8CD345C58D7}" dt="2023-03-03T12:54:17.489" v="2623" actId="1076"/>
          <ac:spMkLst>
            <pc:docMk/>
            <pc:sldMk cId="2306054761" sldId="2147469912"/>
            <ac:spMk id="1049" creationId="{2FA1E4FD-267D-6959-22B6-0E1D24C4B854}"/>
          </ac:spMkLst>
        </pc:spChg>
        <pc:spChg chg="add mod">
          <ac:chgData name="Alex Powers" userId="ae4a1fc7-4395-46d3-b2f1-3b3c37036ad1" providerId="ADAL" clId="{FF07999E-EC8D-435C-95D5-B8CD345C58D7}" dt="2023-03-03T13:23:55.258" v="3250" actId="1076"/>
          <ac:spMkLst>
            <pc:docMk/>
            <pc:sldMk cId="2306054761" sldId="2147469912"/>
            <ac:spMk id="1050" creationId="{AE2F13F1-F8F2-5894-41A2-2D7561E0B732}"/>
          </ac:spMkLst>
        </pc:spChg>
        <pc:spChg chg="add mod">
          <ac:chgData name="Alex Powers" userId="ae4a1fc7-4395-46d3-b2f1-3b3c37036ad1" providerId="ADAL" clId="{FF07999E-EC8D-435C-95D5-B8CD345C58D7}" dt="2023-03-03T12:55:25.122" v="2632" actId="1076"/>
          <ac:spMkLst>
            <pc:docMk/>
            <pc:sldMk cId="2306054761" sldId="2147469912"/>
            <ac:spMk id="1051" creationId="{4654A765-3DD5-D537-2B1F-EAD59A313036}"/>
          </ac:spMkLst>
        </pc:spChg>
        <pc:spChg chg="mod">
          <ac:chgData name="Alex Powers" userId="ae4a1fc7-4395-46d3-b2f1-3b3c37036ad1" providerId="ADAL" clId="{FF07999E-EC8D-435C-95D5-B8CD345C58D7}" dt="2023-03-03T13:03:12.865" v="2704"/>
          <ac:spMkLst>
            <pc:docMk/>
            <pc:sldMk cId="2306054761" sldId="2147469912"/>
            <ac:spMk id="1059" creationId="{1ABE3FB8-04F6-F3B6-F611-F9F45B111F0E}"/>
          </ac:spMkLst>
        </pc:spChg>
        <pc:spChg chg="add mod">
          <ac:chgData name="Alex Powers" userId="ae4a1fc7-4395-46d3-b2f1-3b3c37036ad1" providerId="ADAL" clId="{FF07999E-EC8D-435C-95D5-B8CD345C58D7}" dt="2023-03-03T13:07:11.745" v="2772" actId="1076"/>
          <ac:spMkLst>
            <pc:docMk/>
            <pc:sldMk cId="2306054761" sldId="2147469912"/>
            <ac:spMk id="1078" creationId="{AF931C37-F8DF-7B0C-75F9-C112210F1DF5}"/>
          </ac:spMkLst>
        </pc:spChg>
        <pc:spChg chg="add mod">
          <ac:chgData name="Alex Powers" userId="ae4a1fc7-4395-46d3-b2f1-3b3c37036ad1" providerId="ADAL" clId="{FF07999E-EC8D-435C-95D5-B8CD345C58D7}" dt="2023-03-03T13:11:19.242" v="2857" actId="1076"/>
          <ac:spMkLst>
            <pc:docMk/>
            <pc:sldMk cId="2306054761" sldId="2147469912"/>
            <ac:spMk id="1083" creationId="{EFEBC707-39E5-4884-1789-191B2276806B}"/>
          </ac:spMkLst>
        </pc:spChg>
        <pc:spChg chg="add mod">
          <ac:chgData name="Alex Powers" userId="ae4a1fc7-4395-46d3-b2f1-3b3c37036ad1" providerId="ADAL" clId="{FF07999E-EC8D-435C-95D5-B8CD345C58D7}" dt="2023-03-03T13:11:30.167" v="2866" actId="20577"/>
          <ac:spMkLst>
            <pc:docMk/>
            <pc:sldMk cId="2306054761" sldId="2147469912"/>
            <ac:spMk id="1084" creationId="{FFB455DF-0923-5063-AAF4-16D710EBD15F}"/>
          </ac:spMkLst>
        </pc:spChg>
        <pc:spChg chg="add mod">
          <ac:chgData name="Alex Powers" userId="ae4a1fc7-4395-46d3-b2f1-3b3c37036ad1" providerId="ADAL" clId="{FF07999E-EC8D-435C-95D5-B8CD345C58D7}" dt="2023-03-03T13:11:42.799" v="2878" actId="20577"/>
          <ac:spMkLst>
            <pc:docMk/>
            <pc:sldMk cId="2306054761" sldId="2147469912"/>
            <ac:spMk id="1085" creationId="{D5108036-3534-D1A0-2A63-3381BFA3EF8C}"/>
          </ac:spMkLst>
        </pc:spChg>
        <pc:spChg chg="add mod">
          <ac:chgData name="Alex Powers" userId="ae4a1fc7-4395-46d3-b2f1-3b3c37036ad1" providerId="ADAL" clId="{FF07999E-EC8D-435C-95D5-B8CD345C58D7}" dt="2023-03-03T13:37:30.603" v="3516" actId="207"/>
          <ac:spMkLst>
            <pc:docMk/>
            <pc:sldMk cId="2306054761" sldId="2147469912"/>
            <ac:spMk id="1093" creationId="{CB7CC441-D60D-C019-036D-23CC4F23352F}"/>
          </ac:spMkLst>
        </pc:spChg>
        <pc:grpChg chg="del">
          <ac:chgData name="Alex Powers" userId="ae4a1fc7-4395-46d3-b2f1-3b3c37036ad1" providerId="ADAL" clId="{FF07999E-EC8D-435C-95D5-B8CD345C58D7}" dt="2023-03-02T23:07:05.481" v="2410" actId="478"/>
          <ac:grpSpMkLst>
            <pc:docMk/>
            <pc:sldMk cId="2306054761" sldId="2147469912"/>
            <ac:grpSpMk id="10" creationId="{DB109C48-152A-4DD3-8A78-FA711538DE1B}"/>
          </ac:grpSpMkLst>
        </pc:grpChg>
        <pc:grpChg chg="add mod">
          <ac:chgData name="Alex Powers" userId="ae4a1fc7-4395-46d3-b2f1-3b3c37036ad1" providerId="ADAL" clId="{FF07999E-EC8D-435C-95D5-B8CD345C58D7}" dt="2023-03-03T13:09:35.945" v="2817" actId="1035"/>
          <ac:grpSpMkLst>
            <pc:docMk/>
            <pc:sldMk cId="2306054761" sldId="2147469912"/>
            <ac:grpSpMk id="29" creationId="{A1B0A015-0EFC-647F-840D-96CA97BA38B1}"/>
          </ac:grpSpMkLst>
        </pc:grpChg>
        <pc:grpChg chg="add topLvl">
          <ac:chgData name="Alex Powers" userId="ae4a1fc7-4395-46d3-b2f1-3b3c37036ad1" providerId="ADAL" clId="{FF07999E-EC8D-435C-95D5-B8CD345C58D7}" dt="2023-03-02T23:21:55.577" v="2568" actId="164"/>
          <ac:grpSpMkLst>
            <pc:docMk/>
            <pc:sldMk cId="2306054761" sldId="2147469912"/>
            <ac:grpSpMk id="44" creationId="{337BEEDD-CFB9-C387-0ABB-DE26D87E0C55}"/>
          </ac:grpSpMkLst>
        </pc:grpChg>
        <pc:grpChg chg="add mod topLvl">
          <ac:chgData name="Alex Powers" userId="ae4a1fc7-4395-46d3-b2f1-3b3c37036ad1" providerId="ADAL" clId="{FF07999E-EC8D-435C-95D5-B8CD345C58D7}" dt="2023-03-02T23:21:55.577" v="2568" actId="164"/>
          <ac:grpSpMkLst>
            <pc:docMk/>
            <pc:sldMk cId="2306054761" sldId="2147469912"/>
            <ac:grpSpMk id="45" creationId="{FA57B2D2-D67F-171D-D083-E83FECA60F28}"/>
          </ac:grpSpMkLst>
        </pc:grpChg>
        <pc:grpChg chg="add mod topLvl">
          <ac:chgData name="Alex Powers" userId="ae4a1fc7-4395-46d3-b2f1-3b3c37036ad1" providerId="ADAL" clId="{FF07999E-EC8D-435C-95D5-B8CD345C58D7}" dt="2023-03-02T23:21:55.577" v="2568" actId="164"/>
          <ac:grpSpMkLst>
            <pc:docMk/>
            <pc:sldMk cId="2306054761" sldId="2147469912"/>
            <ac:grpSpMk id="50" creationId="{0691E17E-BAA6-6E91-E7B4-4B3E831760DA}"/>
          </ac:grpSpMkLst>
        </pc:grpChg>
        <pc:grpChg chg="add mod topLvl">
          <ac:chgData name="Alex Powers" userId="ae4a1fc7-4395-46d3-b2f1-3b3c37036ad1" providerId="ADAL" clId="{FF07999E-EC8D-435C-95D5-B8CD345C58D7}" dt="2023-03-02T23:21:55.577" v="2568" actId="164"/>
          <ac:grpSpMkLst>
            <pc:docMk/>
            <pc:sldMk cId="2306054761" sldId="2147469912"/>
            <ac:grpSpMk id="55" creationId="{C57E7E65-0EC9-58B8-AE8C-45094C57ACC2}"/>
          </ac:grpSpMkLst>
        </pc:grpChg>
        <pc:grpChg chg="add del mod">
          <ac:chgData name="Alex Powers" userId="ae4a1fc7-4395-46d3-b2f1-3b3c37036ad1" providerId="ADAL" clId="{FF07999E-EC8D-435C-95D5-B8CD345C58D7}" dt="2023-03-02T23:15:08.483" v="2485" actId="165"/>
          <ac:grpSpMkLst>
            <pc:docMk/>
            <pc:sldMk cId="2306054761" sldId="2147469912"/>
            <ac:grpSpMk id="60" creationId="{34F8A4AE-0A1F-A131-87AB-E8FFBB2C54E2}"/>
          </ac:grpSpMkLst>
        </pc:grpChg>
        <pc:grpChg chg="add del">
          <ac:chgData name="Alex Powers" userId="ae4a1fc7-4395-46d3-b2f1-3b3c37036ad1" providerId="ADAL" clId="{FF07999E-EC8D-435C-95D5-B8CD345C58D7}" dt="2023-03-02T23:21:55.577" v="2568" actId="164"/>
          <ac:grpSpMkLst>
            <pc:docMk/>
            <pc:sldMk cId="2306054761" sldId="2147469912"/>
            <ac:grpSpMk id="1043" creationId="{DE042D89-1990-5309-6B09-BDA17526F513}"/>
          </ac:grpSpMkLst>
        </pc:grpChg>
        <pc:grpChg chg="add mod">
          <ac:chgData name="Alex Powers" userId="ae4a1fc7-4395-46d3-b2f1-3b3c37036ad1" providerId="ADAL" clId="{FF07999E-EC8D-435C-95D5-B8CD345C58D7}" dt="2023-03-03T12:56:54.853" v="2645" actId="1076"/>
          <ac:grpSpMkLst>
            <pc:docMk/>
            <pc:sldMk cId="2306054761" sldId="2147469912"/>
            <ac:grpSpMk id="1044" creationId="{623E5E5D-B94F-9470-0EA9-ABF03336F0B4}"/>
          </ac:grpSpMkLst>
        </pc:grpChg>
        <pc:grpChg chg="add">
          <ac:chgData name="Alex Powers" userId="ae4a1fc7-4395-46d3-b2f1-3b3c37036ad1" providerId="ADAL" clId="{FF07999E-EC8D-435C-95D5-B8CD345C58D7}" dt="2023-03-02T23:23:39.553" v="2583" actId="164"/>
          <ac:grpSpMkLst>
            <pc:docMk/>
            <pc:sldMk cId="2306054761" sldId="2147469912"/>
            <ac:grpSpMk id="1045" creationId="{9FCBF750-B9A2-9A9F-4EF6-84D7360D1F30}"/>
          </ac:grpSpMkLst>
        </pc:grpChg>
        <pc:grpChg chg="add del mod">
          <ac:chgData name="Alex Powers" userId="ae4a1fc7-4395-46d3-b2f1-3b3c37036ad1" providerId="ADAL" clId="{FF07999E-EC8D-435C-95D5-B8CD345C58D7}" dt="2023-03-03T13:03:13.855" v="2705"/>
          <ac:grpSpMkLst>
            <pc:docMk/>
            <pc:sldMk cId="2306054761" sldId="2147469912"/>
            <ac:grpSpMk id="1056" creationId="{189723C9-67EB-7DEF-0494-38B8608D11A1}"/>
          </ac:grpSpMkLst>
        </pc:grpChg>
        <pc:grpChg chg="add mod">
          <ac:chgData name="Alex Powers" userId="ae4a1fc7-4395-46d3-b2f1-3b3c37036ad1" providerId="ADAL" clId="{FF07999E-EC8D-435C-95D5-B8CD345C58D7}" dt="2023-03-03T13:04:04.009" v="2719" actId="1076"/>
          <ac:grpSpMkLst>
            <pc:docMk/>
            <pc:sldMk cId="2306054761" sldId="2147469912"/>
            <ac:grpSpMk id="1067" creationId="{F7DE9C8E-4904-0070-270B-E6551333CF3D}"/>
          </ac:grpSpMkLst>
        </pc:grpChg>
        <pc:grpChg chg="add mod">
          <ac:chgData name="Alex Powers" userId="ae4a1fc7-4395-46d3-b2f1-3b3c37036ad1" providerId="ADAL" clId="{FF07999E-EC8D-435C-95D5-B8CD345C58D7}" dt="2023-03-03T13:04:09.829" v="2721" actId="1076"/>
          <ac:grpSpMkLst>
            <pc:docMk/>
            <pc:sldMk cId="2306054761" sldId="2147469912"/>
            <ac:grpSpMk id="1068" creationId="{F139FC07-8158-15F0-4FD8-7A6E7ECE3AB5}"/>
          </ac:grpSpMkLst>
        </pc:grpChg>
        <pc:grpChg chg="add mod">
          <ac:chgData name="Alex Powers" userId="ae4a1fc7-4395-46d3-b2f1-3b3c37036ad1" providerId="ADAL" clId="{FF07999E-EC8D-435C-95D5-B8CD345C58D7}" dt="2023-03-03T13:04:38.704" v="2727" actId="1076"/>
          <ac:grpSpMkLst>
            <pc:docMk/>
            <pc:sldMk cId="2306054761" sldId="2147469912"/>
            <ac:grpSpMk id="1071" creationId="{0324F3A9-34F0-85C2-3120-45A88C1129A7}"/>
          </ac:grpSpMkLst>
        </pc:grpChg>
        <pc:grpChg chg="add mod">
          <ac:chgData name="Alex Powers" userId="ae4a1fc7-4395-46d3-b2f1-3b3c37036ad1" providerId="ADAL" clId="{FF07999E-EC8D-435C-95D5-B8CD345C58D7}" dt="2023-03-03T13:04:35.042" v="2726" actId="1076"/>
          <ac:grpSpMkLst>
            <pc:docMk/>
            <pc:sldMk cId="2306054761" sldId="2147469912"/>
            <ac:grpSpMk id="1074" creationId="{11C90B8B-2F97-E717-AB22-0065941BFF28}"/>
          </ac:grpSpMkLst>
        </pc:grpChg>
        <pc:grpChg chg="add">
          <ac:chgData name="Alex Powers" userId="ae4a1fc7-4395-46d3-b2f1-3b3c37036ad1" providerId="ADAL" clId="{FF07999E-EC8D-435C-95D5-B8CD345C58D7}" dt="2023-03-03T13:06:12.528" v="2732" actId="164"/>
          <ac:grpSpMkLst>
            <pc:docMk/>
            <pc:sldMk cId="2306054761" sldId="2147469912"/>
            <ac:grpSpMk id="1077" creationId="{A5915ECB-6D1E-EA73-4AD7-776EC9F33C30}"/>
          </ac:grpSpMkLst>
        </pc:grpChg>
        <pc:grpChg chg="add">
          <ac:chgData name="Alex Powers" userId="ae4a1fc7-4395-46d3-b2f1-3b3c37036ad1" providerId="ADAL" clId="{FF07999E-EC8D-435C-95D5-B8CD345C58D7}" dt="2023-03-03T13:21:55.401" v="3243" actId="164"/>
          <ac:grpSpMkLst>
            <pc:docMk/>
            <pc:sldMk cId="2306054761" sldId="2147469912"/>
            <ac:grpSpMk id="1086" creationId="{BD769A70-F290-2C3C-5E7C-335765FD378B}"/>
          </ac:grpSpMkLst>
        </pc:grpChg>
        <pc:grpChg chg="add">
          <ac:chgData name="Alex Powers" userId="ae4a1fc7-4395-46d3-b2f1-3b3c37036ad1" providerId="ADAL" clId="{FF07999E-EC8D-435C-95D5-B8CD345C58D7}" dt="2023-03-03T13:22:04.585" v="3244" actId="164"/>
          <ac:grpSpMkLst>
            <pc:docMk/>
            <pc:sldMk cId="2306054761" sldId="2147469912"/>
            <ac:grpSpMk id="1087" creationId="{DA966F6E-EC5F-860E-5BDA-D9FA8A2EE0CE}"/>
          </ac:grpSpMkLst>
        </pc:grpChg>
        <pc:grpChg chg="add">
          <ac:chgData name="Alex Powers" userId="ae4a1fc7-4395-46d3-b2f1-3b3c37036ad1" providerId="ADAL" clId="{FF07999E-EC8D-435C-95D5-B8CD345C58D7}" dt="2023-03-03T13:24:50.643" v="3261" actId="164"/>
          <ac:grpSpMkLst>
            <pc:docMk/>
            <pc:sldMk cId="2306054761" sldId="2147469912"/>
            <ac:grpSpMk id="1092" creationId="{8D34BAA7-F68E-7EE6-D2EA-CB49CDF53E14}"/>
          </ac:grpSpMkLst>
        </pc:grpChg>
        <pc:picChg chg="add del mod">
          <ac:chgData name="Alex Powers" userId="ae4a1fc7-4395-46d3-b2f1-3b3c37036ad1" providerId="ADAL" clId="{FF07999E-EC8D-435C-95D5-B8CD345C58D7}" dt="2023-03-03T13:07:16.652" v="2773" actId="478"/>
          <ac:picMkLst>
            <pc:docMk/>
            <pc:sldMk cId="2306054761" sldId="2147469912"/>
            <ac:picMk id="7" creationId="{48455427-55AD-4F6E-9B0F-449016469252}"/>
          </ac:picMkLst>
        </pc:picChg>
        <pc:picChg chg="add del mod">
          <ac:chgData name="Alex Powers" userId="ae4a1fc7-4395-46d3-b2f1-3b3c37036ad1" providerId="ADAL" clId="{FF07999E-EC8D-435C-95D5-B8CD345C58D7}" dt="2023-03-02T23:02:33.710" v="2351" actId="478"/>
          <ac:picMkLst>
            <pc:docMk/>
            <pc:sldMk cId="2306054761" sldId="2147469912"/>
            <ac:picMk id="8" creationId="{485D99DF-8826-78FB-7814-FC75B7B293AA}"/>
          </ac:picMkLst>
        </pc:picChg>
        <pc:picChg chg="add del mod">
          <ac:chgData name="Alex Powers" userId="ae4a1fc7-4395-46d3-b2f1-3b3c37036ad1" providerId="ADAL" clId="{FF07999E-EC8D-435C-95D5-B8CD345C58D7}" dt="2023-03-02T23:01:33.410" v="2340" actId="478"/>
          <ac:picMkLst>
            <pc:docMk/>
            <pc:sldMk cId="2306054761" sldId="2147469912"/>
            <ac:picMk id="11" creationId="{CF898824-985D-3302-0C94-4828CF654BAC}"/>
          </ac:picMkLst>
        </pc:picChg>
        <pc:picChg chg="add mod">
          <ac:chgData name="Alex Powers" userId="ae4a1fc7-4395-46d3-b2f1-3b3c37036ad1" providerId="ADAL" clId="{FF07999E-EC8D-435C-95D5-B8CD345C58D7}" dt="2023-03-02T23:03:09.288" v="2363" actId="1076"/>
          <ac:picMkLst>
            <pc:docMk/>
            <pc:sldMk cId="2306054761" sldId="2147469912"/>
            <ac:picMk id="13" creationId="{54E61980-228D-7894-3958-08650C6FD861}"/>
          </ac:picMkLst>
        </pc:picChg>
        <pc:picChg chg="add mod">
          <ac:chgData name="Alex Powers" userId="ae4a1fc7-4395-46d3-b2f1-3b3c37036ad1" providerId="ADAL" clId="{FF07999E-EC8D-435C-95D5-B8CD345C58D7}" dt="2023-03-02T23:03:09.288" v="2363" actId="1076"/>
          <ac:picMkLst>
            <pc:docMk/>
            <pc:sldMk cId="2306054761" sldId="2147469912"/>
            <ac:picMk id="15" creationId="{0FEAB499-D54C-F5F7-FAE8-21472AD933C4}"/>
          </ac:picMkLst>
        </pc:picChg>
        <pc:picChg chg="add mod">
          <ac:chgData name="Alex Powers" userId="ae4a1fc7-4395-46d3-b2f1-3b3c37036ad1" providerId="ADAL" clId="{FF07999E-EC8D-435C-95D5-B8CD345C58D7}" dt="2023-03-03T13:10:50.622" v="2846" actId="1035"/>
          <ac:picMkLst>
            <pc:docMk/>
            <pc:sldMk cId="2306054761" sldId="2147469912"/>
            <ac:picMk id="16" creationId="{1E6952E8-DE27-5791-99CA-4358D3D071C2}"/>
          </ac:picMkLst>
        </pc:picChg>
        <pc:picChg chg="add mod">
          <ac:chgData name="Alex Powers" userId="ae4a1fc7-4395-46d3-b2f1-3b3c37036ad1" providerId="ADAL" clId="{FF07999E-EC8D-435C-95D5-B8CD345C58D7}" dt="2023-03-02T23:03:09.288" v="2363" actId="1076"/>
          <ac:picMkLst>
            <pc:docMk/>
            <pc:sldMk cId="2306054761" sldId="2147469912"/>
            <ac:picMk id="17" creationId="{3BBEB372-A8C9-31D2-E159-3F19E0EB5662}"/>
          </ac:picMkLst>
        </pc:picChg>
        <pc:picChg chg="add del mod">
          <ac:chgData name="Alex Powers" userId="ae4a1fc7-4395-46d3-b2f1-3b3c37036ad1" providerId="ADAL" clId="{FF07999E-EC8D-435C-95D5-B8CD345C58D7}" dt="2023-03-02T23:03:02.278" v="2362" actId="478"/>
          <ac:picMkLst>
            <pc:docMk/>
            <pc:sldMk cId="2306054761" sldId="2147469912"/>
            <ac:picMk id="18" creationId="{CC68374D-2E6E-90A5-DBF8-1B2F333B36EA}"/>
          </ac:picMkLst>
        </pc:picChg>
        <pc:picChg chg="add del mod">
          <ac:chgData name="Alex Powers" userId="ae4a1fc7-4395-46d3-b2f1-3b3c37036ad1" providerId="ADAL" clId="{FF07999E-EC8D-435C-95D5-B8CD345C58D7}" dt="2023-03-02T23:04:45.468" v="2387" actId="478"/>
          <ac:picMkLst>
            <pc:docMk/>
            <pc:sldMk cId="2306054761" sldId="2147469912"/>
            <ac:picMk id="20" creationId="{1C8136D5-1DB2-529F-F63A-E0245F7F5D7C}"/>
          </ac:picMkLst>
        </pc:picChg>
        <pc:picChg chg="add mod">
          <ac:chgData name="Alex Powers" userId="ae4a1fc7-4395-46d3-b2f1-3b3c37036ad1" providerId="ADAL" clId="{FF07999E-EC8D-435C-95D5-B8CD345C58D7}" dt="2023-03-02T23:04:53.169" v="2391" actId="1076"/>
          <ac:picMkLst>
            <pc:docMk/>
            <pc:sldMk cId="2306054761" sldId="2147469912"/>
            <ac:picMk id="24" creationId="{E5CA8B70-9227-2F65-9868-8208047A080D}"/>
          </ac:picMkLst>
        </pc:picChg>
        <pc:picChg chg="add mod">
          <ac:chgData name="Alex Powers" userId="ae4a1fc7-4395-46d3-b2f1-3b3c37036ad1" providerId="ADAL" clId="{FF07999E-EC8D-435C-95D5-B8CD345C58D7}" dt="2023-03-02T23:10:58.110" v="2447" actId="408"/>
          <ac:picMkLst>
            <pc:docMk/>
            <pc:sldMk cId="2306054761" sldId="2147469912"/>
            <ac:picMk id="26" creationId="{8E72EFF4-F601-29D5-005E-C02748601F02}"/>
          </ac:picMkLst>
        </pc:picChg>
        <pc:picChg chg="add mod">
          <ac:chgData name="Alex Powers" userId="ae4a1fc7-4395-46d3-b2f1-3b3c37036ad1" providerId="ADAL" clId="{FF07999E-EC8D-435C-95D5-B8CD345C58D7}" dt="2023-03-02T23:10:51.655" v="2446" actId="1076"/>
          <ac:picMkLst>
            <pc:docMk/>
            <pc:sldMk cId="2306054761" sldId="2147469912"/>
            <ac:picMk id="28" creationId="{7315FEB8-F197-5F79-FD0D-22B3B07FEEF9}"/>
          </ac:picMkLst>
        </pc:picChg>
        <pc:picChg chg="add mod">
          <ac:chgData name="Alex Powers" userId="ae4a1fc7-4395-46d3-b2f1-3b3c37036ad1" providerId="ADAL" clId="{FF07999E-EC8D-435C-95D5-B8CD345C58D7}" dt="2023-03-02T23:21:01.344" v="2562" actId="1076"/>
          <ac:picMkLst>
            <pc:docMk/>
            <pc:sldMk cId="2306054761" sldId="2147469912"/>
            <ac:picMk id="39" creationId="{3B976E79-7DDB-C0CA-B2B6-40D3F3BA6E4D}"/>
          </ac:picMkLst>
        </pc:picChg>
        <pc:picChg chg="add mod">
          <ac:chgData name="Alex Powers" userId="ae4a1fc7-4395-46d3-b2f1-3b3c37036ad1" providerId="ADAL" clId="{FF07999E-EC8D-435C-95D5-B8CD345C58D7}" dt="2023-03-02T23:12:52.051" v="2459" actId="1076"/>
          <ac:picMkLst>
            <pc:docMk/>
            <pc:sldMk cId="2306054761" sldId="2147469912"/>
            <ac:picMk id="41" creationId="{618F5D08-E145-B584-6A57-176AB9A8AFEB}"/>
          </ac:picMkLst>
        </pc:picChg>
        <pc:picChg chg="add mod">
          <ac:chgData name="Alex Powers" userId="ae4a1fc7-4395-46d3-b2f1-3b3c37036ad1" providerId="ADAL" clId="{FF07999E-EC8D-435C-95D5-B8CD345C58D7}" dt="2023-03-02T23:12:57.542" v="2462" actId="1076"/>
          <ac:picMkLst>
            <pc:docMk/>
            <pc:sldMk cId="2306054761" sldId="2147469912"/>
            <ac:picMk id="42" creationId="{7AD9EA28-A746-B767-B903-B6E37A92F9AF}"/>
          </ac:picMkLst>
        </pc:picChg>
        <pc:picChg chg="mod">
          <ac:chgData name="Alex Powers" userId="ae4a1fc7-4395-46d3-b2f1-3b3c37036ad1" providerId="ADAL" clId="{FF07999E-EC8D-435C-95D5-B8CD345C58D7}" dt="2023-03-02T23:20:54.861" v="2561" actId="1076"/>
          <ac:picMkLst>
            <pc:docMk/>
            <pc:sldMk cId="2306054761" sldId="2147469912"/>
            <ac:picMk id="46" creationId="{3819B164-A680-07DF-0E06-B9D95260D919}"/>
          </ac:picMkLst>
        </pc:picChg>
        <pc:picChg chg="mod">
          <ac:chgData name="Alex Powers" userId="ae4a1fc7-4395-46d3-b2f1-3b3c37036ad1" providerId="ADAL" clId="{FF07999E-EC8D-435C-95D5-B8CD345C58D7}" dt="2023-03-02T23:13:49.935" v="2472"/>
          <ac:picMkLst>
            <pc:docMk/>
            <pc:sldMk cId="2306054761" sldId="2147469912"/>
            <ac:picMk id="47" creationId="{BB28C495-E5E0-EAFB-87D0-925726241919}"/>
          </ac:picMkLst>
        </pc:picChg>
        <pc:picChg chg="mod">
          <ac:chgData name="Alex Powers" userId="ae4a1fc7-4395-46d3-b2f1-3b3c37036ad1" providerId="ADAL" clId="{FF07999E-EC8D-435C-95D5-B8CD345C58D7}" dt="2023-03-02T23:13:49.935" v="2472"/>
          <ac:picMkLst>
            <pc:docMk/>
            <pc:sldMk cId="2306054761" sldId="2147469912"/>
            <ac:picMk id="48" creationId="{216D162C-7BF3-709C-C864-FBB7A0845431}"/>
          </ac:picMkLst>
        </pc:picChg>
        <pc:picChg chg="mod">
          <ac:chgData name="Alex Powers" userId="ae4a1fc7-4395-46d3-b2f1-3b3c37036ad1" providerId="ADAL" clId="{FF07999E-EC8D-435C-95D5-B8CD345C58D7}" dt="2023-03-02T23:21:05.106" v="2563" actId="1076"/>
          <ac:picMkLst>
            <pc:docMk/>
            <pc:sldMk cId="2306054761" sldId="2147469912"/>
            <ac:picMk id="51" creationId="{5FFCF003-5469-A1EF-3961-F79FF88EF4B5}"/>
          </ac:picMkLst>
        </pc:picChg>
        <pc:picChg chg="mod">
          <ac:chgData name="Alex Powers" userId="ae4a1fc7-4395-46d3-b2f1-3b3c37036ad1" providerId="ADAL" clId="{FF07999E-EC8D-435C-95D5-B8CD345C58D7}" dt="2023-03-02T23:13:59.167" v="2474"/>
          <ac:picMkLst>
            <pc:docMk/>
            <pc:sldMk cId="2306054761" sldId="2147469912"/>
            <ac:picMk id="52" creationId="{A53A23E1-1F3E-691A-03F2-E8D91CF1D2BA}"/>
          </ac:picMkLst>
        </pc:picChg>
        <pc:picChg chg="mod">
          <ac:chgData name="Alex Powers" userId="ae4a1fc7-4395-46d3-b2f1-3b3c37036ad1" providerId="ADAL" clId="{FF07999E-EC8D-435C-95D5-B8CD345C58D7}" dt="2023-03-02T23:13:59.167" v="2474"/>
          <ac:picMkLst>
            <pc:docMk/>
            <pc:sldMk cId="2306054761" sldId="2147469912"/>
            <ac:picMk id="53" creationId="{9BA2ED06-7CE5-64DE-C0F4-A62D3F94D413}"/>
          </ac:picMkLst>
        </pc:picChg>
        <pc:picChg chg="mod">
          <ac:chgData name="Alex Powers" userId="ae4a1fc7-4395-46d3-b2f1-3b3c37036ad1" providerId="ADAL" clId="{FF07999E-EC8D-435C-95D5-B8CD345C58D7}" dt="2023-03-02T23:22:00.455" v="2570" actId="1076"/>
          <ac:picMkLst>
            <pc:docMk/>
            <pc:sldMk cId="2306054761" sldId="2147469912"/>
            <ac:picMk id="56" creationId="{0D6DE8F0-777E-46FE-C312-871724824C54}"/>
          </ac:picMkLst>
        </pc:picChg>
        <pc:picChg chg="mod">
          <ac:chgData name="Alex Powers" userId="ae4a1fc7-4395-46d3-b2f1-3b3c37036ad1" providerId="ADAL" clId="{FF07999E-EC8D-435C-95D5-B8CD345C58D7}" dt="2023-03-02T23:14:37.251" v="2477"/>
          <ac:picMkLst>
            <pc:docMk/>
            <pc:sldMk cId="2306054761" sldId="2147469912"/>
            <ac:picMk id="57" creationId="{10F406F1-C73E-E35F-21C5-7C824C53CB46}"/>
          </ac:picMkLst>
        </pc:picChg>
        <pc:picChg chg="mod">
          <ac:chgData name="Alex Powers" userId="ae4a1fc7-4395-46d3-b2f1-3b3c37036ad1" providerId="ADAL" clId="{FF07999E-EC8D-435C-95D5-B8CD345C58D7}" dt="2023-03-02T23:14:37.251" v="2477"/>
          <ac:picMkLst>
            <pc:docMk/>
            <pc:sldMk cId="2306054761" sldId="2147469912"/>
            <ac:picMk id="58" creationId="{A42897BC-D5B4-1017-1190-D80BC47BB3F6}"/>
          </ac:picMkLst>
        </pc:picChg>
        <pc:picChg chg="mod topLvl">
          <ac:chgData name="Alex Powers" userId="ae4a1fc7-4395-46d3-b2f1-3b3c37036ad1" providerId="ADAL" clId="{FF07999E-EC8D-435C-95D5-B8CD345C58D7}" dt="2023-03-02T23:20:25.772" v="2555" actId="1076"/>
          <ac:picMkLst>
            <pc:docMk/>
            <pc:sldMk cId="2306054761" sldId="2147469912"/>
            <ac:picMk id="61" creationId="{DB6A2D55-A500-9FF1-FBB6-DA0123E8ABD5}"/>
          </ac:picMkLst>
        </pc:picChg>
        <pc:picChg chg="del mod topLvl">
          <ac:chgData name="Alex Powers" userId="ae4a1fc7-4395-46d3-b2f1-3b3c37036ad1" providerId="ADAL" clId="{FF07999E-EC8D-435C-95D5-B8CD345C58D7}" dt="2023-03-03T13:03:53.784" v="2716" actId="478"/>
          <ac:picMkLst>
            <pc:docMk/>
            <pc:sldMk cId="2306054761" sldId="2147469912"/>
            <ac:picMk id="62" creationId="{976F256F-5CCC-9E13-B38F-B5E9AF5941C0}"/>
          </ac:picMkLst>
        </pc:picChg>
        <pc:picChg chg="del mod topLvl">
          <ac:chgData name="Alex Powers" userId="ae4a1fc7-4395-46d3-b2f1-3b3c37036ad1" providerId="ADAL" clId="{FF07999E-EC8D-435C-95D5-B8CD345C58D7}" dt="2023-03-02T23:16:34.197" v="2499" actId="478"/>
          <ac:picMkLst>
            <pc:docMk/>
            <pc:sldMk cId="2306054761" sldId="2147469912"/>
            <ac:picMk id="63" creationId="{35ACDE22-E4EA-B7CC-18E7-FE36B846A64B}"/>
          </ac:picMkLst>
        </pc:picChg>
        <pc:picChg chg="add del mod">
          <ac:chgData name="Alex Powers" userId="ae4a1fc7-4395-46d3-b2f1-3b3c37036ad1" providerId="ADAL" clId="{FF07999E-EC8D-435C-95D5-B8CD345C58D7}" dt="2023-03-03T13:03:09.777" v="2703" actId="478"/>
          <ac:picMkLst>
            <pc:docMk/>
            <pc:sldMk cId="2306054761" sldId="2147469912"/>
            <ac:picMk id="1025" creationId="{02A7D0A2-1E45-F4DC-1131-021B4E1C67A9}"/>
          </ac:picMkLst>
        </pc:picChg>
        <pc:picChg chg="add del">
          <ac:chgData name="Alex Powers" userId="ae4a1fc7-4395-46d3-b2f1-3b3c37036ad1" providerId="ADAL" clId="{FF07999E-EC8D-435C-95D5-B8CD345C58D7}" dt="2023-03-02T23:08:12.289" v="2412"/>
          <ac:picMkLst>
            <pc:docMk/>
            <pc:sldMk cId="2306054761" sldId="2147469912"/>
            <ac:picMk id="1026" creationId="{94DBA8CB-18B6-517C-5694-F76CFAEDA564}"/>
          </ac:picMkLst>
        </pc:picChg>
        <pc:picChg chg="add del mod">
          <ac:chgData name="Alex Powers" userId="ae4a1fc7-4395-46d3-b2f1-3b3c37036ad1" providerId="ADAL" clId="{FF07999E-EC8D-435C-95D5-B8CD345C58D7}" dt="2023-03-02T23:16:34.197" v="2499" actId="478"/>
          <ac:picMkLst>
            <pc:docMk/>
            <pc:sldMk cId="2306054761" sldId="2147469912"/>
            <ac:picMk id="1027" creationId="{6ED832D2-B23A-A51D-3701-80E32CE721AE}"/>
          </ac:picMkLst>
        </pc:picChg>
        <pc:picChg chg="add mod">
          <ac:chgData name="Alex Powers" userId="ae4a1fc7-4395-46d3-b2f1-3b3c37036ad1" providerId="ADAL" clId="{FF07999E-EC8D-435C-95D5-B8CD345C58D7}" dt="2023-03-02T23:16:30.134" v="2498" actId="408"/>
          <ac:picMkLst>
            <pc:docMk/>
            <pc:sldMk cId="2306054761" sldId="2147469912"/>
            <ac:picMk id="1028" creationId="{2930A7E9-9C7E-C294-57B6-7B16BD7E9D9B}"/>
          </ac:picMkLst>
        </pc:picChg>
        <pc:picChg chg="add del mod">
          <ac:chgData name="Alex Powers" userId="ae4a1fc7-4395-46d3-b2f1-3b3c37036ad1" providerId="ADAL" clId="{FF07999E-EC8D-435C-95D5-B8CD345C58D7}" dt="2023-03-02T23:16:34.197" v="2499" actId="478"/>
          <ac:picMkLst>
            <pc:docMk/>
            <pc:sldMk cId="2306054761" sldId="2147469912"/>
            <ac:picMk id="1029" creationId="{919F26F1-2960-FCDE-E9E9-9A825D671040}"/>
          </ac:picMkLst>
        </pc:picChg>
        <pc:picChg chg="add mod">
          <ac:chgData name="Alex Powers" userId="ae4a1fc7-4395-46d3-b2f1-3b3c37036ad1" providerId="ADAL" clId="{FF07999E-EC8D-435C-95D5-B8CD345C58D7}" dt="2023-03-02T23:16:24.936" v="2497" actId="465"/>
          <ac:picMkLst>
            <pc:docMk/>
            <pc:sldMk cId="2306054761" sldId="2147469912"/>
            <ac:picMk id="1030" creationId="{16CC54DE-2C05-A5FA-FF6F-30CBCB5FC063}"/>
          </ac:picMkLst>
        </pc:picChg>
        <pc:picChg chg="add del mod">
          <ac:chgData name="Alex Powers" userId="ae4a1fc7-4395-46d3-b2f1-3b3c37036ad1" providerId="ADAL" clId="{FF07999E-EC8D-435C-95D5-B8CD345C58D7}" dt="2023-03-02T23:16:34.197" v="2499" actId="478"/>
          <ac:picMkLst>
            <pc:docMk/>
            <pc:sldMk cId="2306054761" sldId="2147469912"/>
            <ac:picMk id="1031" creationId="{E7E60809-2730-D18A-5E97-74A096B6A640}"/>
          </ac:picMkLst>
        </pc:picChg>
        <pc:picChg chg="add del mod">
          <ac:chgData name="Alex Powers" userId="ae4a1fc7-4395-46d3-b2f1-3b3c37036ad1" providerId="ADAL" clId="{FF07999E-EC8D-435C-95D5-B8CD345C58D7}" dt="2023-03-03T13:03:06.163" v="2701" actId="478"/>
          <ac:picMkLst>
            <pc:docMk/>
            <pc:sldMk cId="2306054761" sldId="2147469912"/>
            <ac:picMk id="1032" creationId="{0FCB17B7-D0BD-2576-188E-592DE06895F0}"/>
          </ac:picMkLst>
        </pc:picChg>
        <pc:picChg chg="add del mod">
          <ac:chgData name="Alex Powers" userId="ae4a1fc7-4395-46d3-b2f1-3b3c37036ad1" providerId="ADAL" clId="{FF07999E-EC8D-435C-95D5-B8CD345C58D7}" dt="2023-03-03T13:03:08.457" v="2702" actId="478"/>
          <ac:picMkLst>
            <pc:docMk/>
            <pc:sldMk cId="2306054761" sldId="2147469912"/>
            <ac:picMk id="1033" creationId="{57C8EF5D-551A-7389-F3E7-217A6FD91C32}"/>
          </ac:picMkLst>
        </pc:picChg>
        <pc:picChg chg="add mod">
          <ac:chgData name="Alex Powers" userId="ae4a1fc7-4395-46d3-b2f1-3b3c37036ad1" providerId="ADAL" clId="{FF07999E-EC8D-435C-95D5-B8CD345C58D7}" dt="2023-03-03T16:55:20.299" v="4034" actId="1076"/>
          <ac:picMkLst>
            <pc:docMk/>
            <pc:sldMk cId="2306054761" sldId="2147469912"/>
            <ac:picMk id="1034" creationId="{4605184A-3D65-2733-F13B-FECF3DA2B15E}"/>
          </ac:picMkLst>
        </pc:picChg>
        <pc:picChg chg="add mod">
          <ac:chgData name="Alex Powers" userId="ae4a1fc7-4395-46d3-b2f1-3b3c37036ad1" providerId="ADAL" clId="{FF07999E-EC8D-435C-95D5-B8CD345C58D7}" dt="2023-03-03T16:55:26.073" v="4035" actId="1076"/>
          <ac:picMkLst>
            <pc:docMk/>
            <pc:sldMk cId="2306054761" sldId="2147469912"/>
            <ac:picMk id="1035" creationId="{ABFE7E9A-A053-07BF-66F8-0F38115D69C6}"/>
          </ac:picMkLst>
        </pc:picChg>
        <pc:picChg chg="add del mod">
          <ac:chgData name="Alex Powers" userId="ae4a1fc7-4395-46d3-b2f1-3b3c37036ad1" providerId="ADAL" clId="{FF07999E-EC8D-435C-95D5-B8CD345C58D7}" dt="2023-03-02T23:17:40.490" v="2512" actId="478"/>
          <ac:picMkLst>
            <pc:docMk/>
            <pc:sldMk cId="2306054761" sldId="2147469912"/>
            <ac:picMk id="1037" creationId="{876821D6-6DE1-FE1B-B760-1D4F1A1E1580}"/>
          </ac:picMkLst>
        </pc:picChg>
        <pc:picChg chg="add del mod ord">
          <ac:chgData name="Alex Powers" userId="ae4a1fc7-4395-46d3-b2f1-3b3c37036ad1" providerId="ADAL" clId="{FF07999E-EC8D-435C-95D5-B8CD345C58D7}" dt="2023-03-03T12:58:40.408" v="2665" actId="478"/>
          <ac:picMkLst>
            <pc:docMk/>
            <pc:sldMk cId="2306054761" sldId="2147469912"/>
            <ac:picMk id="1039" creationId="{00CB7298-9544-9F38-C94E-43AFD08B7780}"/>
          </ac:picMkLst>
        </pc:picChg>
        <pc:picChg chg="add del mod">
          <ac:chgData name="Alex Powers" userId="ae4a1fc7-4395-46d3-b2f1-3b3c37036ad1" providerId="ADAL" clId="{FF07999E-EC8D-435C-95D5-B8CD345C58D7}" dt="2023-03-02T23:19:22.740" v="2541" actId="478"/>
          <ac:picMkLst>
            <pc:docMk/>
            <pc:sldMk cId="2306054761" sldId="2147469912"/>
            <ac:picMk id="1041" creationId="{83DCC402-B338-621F-DD29-BAB28AC2FCC8}"/>
          </ac:picMkLst>
        </pc:picChg>
        <pc:picChg chg="add del mod">
          <ac:chgData name="Alex Powers" userId="ae4a1fc7-4395-46d3-b2f1-3b3c37036ad1" providerId="ADAL" clId="{FF07999E-EC8D-435C-95D5-B8CD345C58D7}" dt="2023-03-02T23:20:14.592" v="2554" actId="478"/>
          <ac:picMkLst>
            <pc:docMk/>
            <pc:sldMk cId="2306054761" sldId="2147469912"/>
            <ac:picMk id="1042" creationId="{82E3CF00-20F7-2F95-6C69-CD893B25D48E}"/>
          </ac:picMkLst>
        </pc:picChg>
        <pc:picChg chg="add del mod">
          <ac:chgData name="Alex Powers" userId="ae4a1fc7-4395-46d3-b2f1-3b3c37036ad1" providerId="ADAL" clId="{FF07999E-EC8D-435C-95D5-B8CD345C58D7}" dt="2023-03-03T12:58:38.619" v="2664" actId="478"/>
          <ac:picMkLst>
            <pc:docMk/>
            <pc:sldMk cId="2306054761" sldId="2147469912"/>
            <ac:picMk id="1052" creationId="{5A0E9341-6515-CEA8-2585-349C272C966C}"/>
          </ac:picMkLst>
        </pc:picChg>
        <pc:picChg chg="add del mod">
          <ac:chgData name="Alex Powers" userId="ae4a1fc7-4395-46d3-b2f1-3b3c37036ad1" providerId="ADAL" clId="{FF07999E-EC8D-435C-95D5-B8CD345C58D7}" dt="2023-03-03T13:03:52.437" v="2715" actId="478"/>
          <ac:picMkLst>
            <pc:docMk/>
            <pc:sldMk cId="2306054761" sldId="2147469912"/>
            <ac:picMk id="1054" creationId="{8EC5C165-69AD-1A72-CC19-8A98C7B84457}"/>
          </ac:picMkLst>
        </pc:picChg>
        <pc:picChg chg="add del mod">
          <ac:chgData name="Alex Powers" userId="ae4a1fc7-4395-46d3-b2f1-3b3c37036ad1" providerId="ADAL" clId="{FF07999E-EC8D-435C-95D5-B8CD345C58D7}" dt="2023-03-03T13:03:03.463" v="2700" actId="478"/>
          <ac:picMkLst>
            <pc:docMk/>
            <pc:sldMk cId="2306054761" sldId="2147469912"/>
            <ac:picMk id="1055" creationId="{E5B60FD1-DD37-D93C-0A13-E2E9B3F4BF8D}"/>
          </ac:picMkLst>
        </pc:picChg>
        <pc:picChg chg="mod">
          <ac:chgData name="Alex Powers" userId="ae4a1fc7-4395-46d3-b2f1-3b3c37036ad1" providerId="ADAL" clId="{FF07999E-EC8D-435C-95D5-B8CD345C58D7}" dt="2023-03-03T13:03:12.865" v="2704"/>
          <ac:picMkLst>
            <pc:docMk/>
            <pc:sldMk cId="2306054761" sldId="2147469912"/>
            <ac:picMk id="1057" creationId="{97F5E278-E27E-F185-65F2-A69C840E15EC}"/>
          </ac:picMkLst>
        </pc:picChg>
        <pc:picChg chg="mod">
          <ac:chgData name="Alex Powers" userId="ae4a1fc7-4395-46d3-b2f1-3b3c37036ad1" providerId="ADAL" clId="{FF07999E-EC8D-435C-95D5-B8CD345C58D7}" dt="2023-03-03T13:03:12.865" v="2704"/>
          <ac:picMkLst>
            <pc:docMk/>
            <pc:sldMk cId="2306054761" sldId="2147469912"/>
            <ac:picMk id="1058" creationId="{466295B4-8060-061B-33AE-43B9B85CCA19}"/>
          </ac:picMkLst>
        </pc:picChg>
        <pc:picChg chg="mod">
          <ac:chgData name="Alex Powers" userId="ae4a1fc7-4395-46d3-b2f1-3b3c37036ad1" providerId="ADAL" clId="{FF07999E-EC8D-435C-95D5-B8CD345C58D7}" dt="2023-03-03T13:03:12.865" v="2704"/>
          <ac:picMkLst>
            <pc:docMk/>
            <pc:sldMk cId="2306054761" sldId="2147469912"/>
            <ac:picMk id="1060" creationId="{401D418E-96D9-8163-7168-412D578FC679}"/>
          </ac:picMkLst>
        </pc:picChg>
        <pc:picChg chg="mod">
          <ac:chgData name="Alex Powers" userId="ae4a1fc7-4395-46d3-b2f1-3b3c37036ad1" providerId="ADAL" clId="{FF07999E-EC8D-435C-95D5-B8CD345C58D7}" dt="2023-03-03T13:03:12.865" v="2704"/>
          <ac:picMkLst>
            <pc:docMk/>
            <pc:sldMk cId="2306054761" sldId="2147469912"/>
            <ac:picMk id="1061" creationId="{80AF1CA0-5B7A-76D7-F74A-3393CCDC67F9}"/>
          </ac:picMkLst>
        </pc:picChg>
        <pc:picChg chg="mod">
          <ac:chgData name="Alex Powers" userId="ae4a1fc7-4395-46d3-b2f1-3b3c37036ad1" providerId="ADAL" clId="{FF07999E-EC8D-435C-95D5-B8CD345C58D7}" dt="2023-03-03T13:03:12.865" v="2704"/>
          <ac:picMkLst>
            <pc:docMk/>
            <pc:sldMk cId="2306054761" sldId="2147469912"/>
            <ac:picMk id="1062" creationId="{4198F2AC-0173-6B6D-CB01-BB7B58DEBEF1}"/>
          </ac:picMkLst>
        </pc:picChg>
        <pc:picChg chg="mod">
          <ac:chgData name="Alex Powers" userId="ae4a1fc7-4395-46d3-b2f1-3b3c37036ad1" providerId="ADAL" clId="{FF07999E-EC8D-435C-95D5-B8CD345C58D7}" dt="2023-03-03T13:03:12.865" v="2704"/>
          <ac:picMkLst>
            <pc:docMk/>
            <pc:sldMk cId="2306054761" sldId="2147469912"/>
            <ac:picMk id="1063" creationId="{028C3856-B0EF-371D-05BB-A8408DD6414A}"/>
          </ac:picMkLst>
        </pc:picChg>
        <pc:picChg chg="add del mod">
          <ac:chgData name="Alex Powers" userId="ae4a1fc7-4395-46d3-b2f1-3b3c37036ad1" providerId="ADAL" clId="{FF07999E-EC8D-435C-95D5-B8CD345C58D7}" dt="2023-03-03T13:03:13.855" v="2705"/>
          <ac:picMkLst>
            <pc:docMk/>
            <pc:sldMk cId="2306054761" sldId="2147469912"/>
            <ac:picMk id="1064" creationId="{253DCFFA-3BEB-490E-7F15-B01ADA9CCEDE}"/>
          </ac:picMkLst>
        </pc:picChg>
        <pc:picChg chg="add mod">
          <ac:chgData name="Alex Powers" userId="ae4a1fc7-4395-46d3-b2f1-3b3c37036ad1" providerId="ADAL" clId="{FF07999E-EC8D-435C-95D5-B8CD345C58D7}" dt="2023-03-03T13:03:33.999" v="2707" actId="1076"/>
          <ac:picMkLst>
            <pc:docMk/>
            <pc:sldMk cId="2306054761" sldId="2147469912"/>
            <ac:picMk id="1065" creationId="{40F6932B-D822-FCCB-7914-9ADD64AFAF56}"/>
          </ac:picMkLst>
        </pc:picChg>
        <pc:picChg chg="add mod">
          <ac:chgData name="Alex Powers" userId="ae4a1fc7-4395-46d3-b2f1-3b3c37036ad1" providerId="ADAL" clId="{FF07999E-EC8D-435C-95D5-B8CD345C58D7}" dt="2023-03-03T13:04:53.320" v="2728" actId="1582"/>
          <ac:picMkLst>
            <pc:docMk/>
            <pc:sldMk cId="2306054761" sldId="2147469912"/>
            <ac:picMk id="1066" creationId="{6DD6F771-F2C8-371E-8409-6ED5352A559D}"/>
          </ac:picMkLst>
        </pc:picChg>
        <pc:picChg chg="mod">
          <ac:chgData name="Alex Powers" userId="ae4a1fc7-4395-46d3-b2f1-3b3c37036ad1" providerId="ADAL" clId="{FF07999E-EC8D-435C-95D5-B8CD345C58D7}" dt="2023-03-03T13:04:04.705" v="2720"/>
          <ac:picMkLst>
            <pc:docMk/>
            <pc:sldMk cId="2306054761" sldId="2147469912"/>
            <ac:picMk id="1069" creationId="{FDDD6FC3-2E65-805F-6BA8-0D8DFB8C9CDD}"/>
          </ac:picMkLst>
        </pc:picChg>
        <pc:picChg chg="mod">
          <ac:chgData name="Alex Powers" userId="ae4a1fc7-4395-46d3-b2f1-3b3c37036ad1" providerId="ADAL" clId="{FF07999E-EC8D-435C-95D5-B8CD345C58D7}" dt="2023-03-03T13:05:00.981" v="2729" actId="1582"/>
          <ac:picMkLst>
            <pc:docMk/>
            <pc:sldMk cId="2306054761" sldId="2147469912"/>
            <ac:picMk id="1070" creationId="{5D3110B9-1C3D-B3E7-754C-2981850432D9}"/>
          </ac:picMkLst>
        </pc:picChg>
        <pc:picChg chg="mod">
          <ac:chgData name="Alex Powers" userId="ae4a1fc7-4395-46d3-b2f1-3b3c37036ad1" providerId="ADAL" clId="{FF07999E-EC8D-435C-95D5-B8CD345C58D7}" dt="2023-03-03T13:04:10.934" v="2722"/>
          <ac:picMkLst>
            <pc:docMk/>
            <pc:sldMk cId="2306054761" sldId="2147469912"/>
            <ac:picMk id="1072" creationId="{EC6E1754-B5AC-741B-A4DD-CA44F474711C}"/>
          </ac:picMkLst>
        </pc:picChg>
        <pc:picChg chg="mod">
          <ac:chgData name="Alex Powers" userId="ae4a1fc7-4395-46d3-b2f1-3b3c37036ad1" providerId="ADAL" clId="{FF07999E-EC8D-435C-95D5-B8CD345C58D7}" dt="2023-03-03T13:05:08.222" v="2730" actId="1582"/>
          <ac:picMkLst>
            <pc:docMk/>
            <pc:sldMk cId="2306054761" sldId="2147469912"/>
            <ac:picMk id="1073" creationId="{3D82B67C-20A5-E7D5-D521-B53AF401AEFD}"/>
          </ac:picMkLst>
        </pc:picChg>
        <pc:picChg chg="mod">
          <ac:chgData name="Alex Powers" userId="ae4a1fc7-4395-46d3-b2f1-3b3c37036ad1" providerId="ADAL" clId="{FF07999E-EC8D-435C-95D5-B8CD345C58D7}" dt="2023-03-03T13:04:22.401" v="2724"/>
          <ac:picMkLst>
            <pc:docMk/>
            <pc:sldMk cId="2306054761" sldId="2147469912"/>
            <ac:picMk id="1075" creationId="{A0CAA90D-2F7A-BE08-B0C1-17B6F62C9F20}"/>
          </ac:picMkLst>
        </pc:picChg>
        <pc:picChg chg="mod">
          <ac:chgData name="Alex Powers" userId="ae4a1fc7-4395-46d3-b2f1-3b3c37036ad1" providerId="ADAL" clId="{FF07999E-EC8D-435C-95D5-B8CD345C58D7}" dt="2023-03-03T13:05:12.786" v="2731" actId="1582"/>
          <ac:picMkLst>
            <pc:docMk/>
            <pc:sldMk cId="2306054761" sldId="2147469912"/>
            <ac:picMk id="1076" creationId="{0FDEBF6A-8675-1FB3-9D95-9B52865573C7}"/>
          </ac:picMkLst>
        </pc:picChg>
        <pc:picChg chg="add mod">
          <ac:chgData name="Alex Powers" userId="ae4a1fc7-4395-46d3-b2f1-3b3c37036ad1" providerId="ADAL" clId="{FF07999E-EC8D-435C-95D5-B8CD345C58D7}" dt="2023-03-03T13:08:02.729" v="2781" actId="1076"/>
          <ac:picMkLst>
            <pc:docMk/>
            <pc:sldMk cId="2306054761" sldId="2147469912"/>
            <ac:picMk id="1080" creationId="{5B3D5640-0948-E72B-3C86-4EBC75F1B76C}"/>
          </ac:picMkLst>
        </pc:picChg>
        <pc:cxnChg chg="add mod">
          <ac:chgData name="Alex Powers" userId="ae4a1fc7-4395-46d3-b2f1-3b3c37036ad1" providerId="ADAL" clId="{FF07999E-EC8D-435C-95D5-B8CD345C58D7}" dt="2023-03-03T13:08:06.351" v="2782" actId="14100"/>
          <ac:cxnSpMkLst>
            <pc:docMk/>
            <pc:sldMk cId="2306054761" sldId="2147469912"/>
            <ac:cxnSpMk id="31" creationId="{5398892E-3E61-156B-1211-00B5B6034393}"/>
          </ac:cxnSpMkLst>
        </pc:cxnChg>
        <pc:cxnChg chg="add mod">
          <ac:chgData name="Alex Powers" userId="ae4a1fc7-4395-46d3-b2f1-3b3c37036ad1" providerId="ADAL" clId="{FF07999E-EC8D-435C-95D5-B8CD345C58D7}" dt="2023-03-03T13:10:50.622" v="2846" actId="1035"/>
          <ac:cxnSpMkLst>
            <pc:docMk/>
            <pc:sldMk cId="2306054761" sldId="2147469912"/>
            <ac:cxnSpMk id="33" creationId="{5276025C-24CB-287C-FF1E-4E1944DFA491}"/>
          </ac:cxnSpMkLst>
        </pc:cxnChg>
        <pc:cxnChg chg="add mod">
          <ac:chgData name="Alex Powers" userId="ae4a1fc7-4395-46d3-b2f1-3b3c37036ad1" providerId="ADAL" clId="{FF07999E-EC8D-435C-95D5-B8CD345C58D7}" dt="2023-03-03T13:09:35.945" v="2817" actId="1035"/>
          <ac:cxnSpMkLst>
            <pc:docMk/>
            <pc:sldMk cId="2306054761" sldId="2147469912"/>
            <ac:cxnSpMk id="34" creationId="{56700C7F-CDCE-F30C-3880-AD7B5A2F1668}"/>
          </ac:cxnSpMkLst>
        </pc:cxnChg>
        <pc:cxnChg chg="add mod">
          <ac:chgData name="Alex Powers" userId="ae4a1fc7-4395-46d3-b2f1-3b3c37036ad1" providerId="ADAL" clId="{FF07999E-EC8D-435C-95D5-B8CD345C58D7}" dt="2023-03-03T13:24:23.485" v="3256" actId="1037"/>
          <ac:cxnSpMkLst>
            <pc:docMk/>
            <pc:sldMk cId="2306054761" sldId="2147469912"/>
            <ac:cxnSpMk id="1088" creationId="{562263A6-2525-4C7B-029E-632D56D62F49}"/>
          </ac:cxnSpMkLst>
        </pc:cxnChg>
        <pc:cxnChg chg="add mod">
          <ac:chgData name="Alex Powers" userId="ae4a1fc7-4395-46d3-b2f1-3b3c37036ad1" providerId="ADAL" clId="{FF07999E-EC8D-435C-95D5-B8CD345C58D7}" dt="2023-03-03T13:24:31.087" v="3258" actId="1076"/>
          <ac:cxnSpMkLst>
            <pc:docMk/>
            <pc:sldMk cId="2306054761" sldId="2147469912"/>
            <ac:cxnSpMk id="1090" creationId="{5618173F-9F11-7729-B6D0-31885056851A}"/>
          </ac:cxnSpMkLst>
        </pc:cxnChg>
        <pc:cxnChg chg="add mod">
          <ac:chgData name="Alex Powers" userId="ae4a1fc7-4395-46d3-b2f1-3b3c37036ad1" providerId="ADAL" clId="{FF07999E-EC8D-435C-95D5-B8CD345C58D7}" dt="2023-03-03T13:24:36.569" v="3260" actId="1076"/>
          <ac:cxnSpMkLst>
            <pc:docMk/>
            <pc:sldMk cId="2306054761" sldId="2147469912"/>
            <ac:cxnSpMk id="1091" creationId="{03D43DCA-0A80-4212-0831-0BD7545A566D}"/>
          </ac:cxnSpMkLst>
        </pc:cxnChg>
      </pc:sldChg>
      <pc:sldChg chg="del">
        <pc:chgData name="Alex Powers" userId="ae4a1fc7-4395-46d3-b2f1-3b3c37036ad1" providerId="ADAL" clId="{FF07999E-EC8D-435C-95D5-B8CD345C58D7}" dt="2023-03-03T13:30:00.573" v="3350" actId="47"/>
        <pc:sldMkLst>
          <pc:docMk/>
          <pc:sldMk cId="1513792599" sldId="2147469913"/>
        </pc:sldMkLst>
      </pc:sldChg>
      <pc:sldChg chg="del">
        <pc:chgData name="Alex Powers" userId="ae4a1fc7-4395-46d3-b2f1-3b3c37036ad1" providerId="ADAL" clId="{FF07999E-EC8D-435C-95D5-B8CD345C58D7}" dt="2023-03-03T13:30:00.573" v="3350" actId="47"/>
        <pc:sldMkLst>
          <pc:docMk/>
          <pc:sldMk cId="1362187620" sldId="2147469914"/>
        </pc:sldMkLst>
      </pc:sldChg>
      <pc:sldChg chg="del">
        <pc:chgData name="Alex Powers" userId="ae4a1fc7-4395-46d3-b2f1-3b3c37036ad1" providerId="ADAL" clId="{FF07999E-EC8D-435C-95D5-B8CD345C58D7}" dt="2023-03-03T13:30:00.573" v="3350" actId="47"/>
        <pc:sldMkLst>
          <pc:docMk/>
          <pc:sldMk cId="2000885324" sldId="2147469915"/>
        </pc:sldMkLst>
      </pc:sldChg>
      <pc:sldChg chg="del">
        <pc:chgData name="Alex Powers" userId="ae4a1fc7-4395-46d3-b2f1-3b3c37036ad1" providerId="ADAL" clId="{FF07999E-EC8D-435C-95D5-B8CD345C58D7}" dt="2023-03-03T13:30:00.573" v="3350" actId="47"/>
        <pc:sldMkLst>
          <pc:docMk/>
          <pc:sldMk cId="749599461" sldId="2147469916"/>
        </pc:sldMkLst>
      </pc:sldChg>
      <pc:sldChg chg="del">
        <pc:chgData name="Alex Powers" userId="ae4a1fc7-4395-46d3-b2f1-3b3c37036ad1" providerId="ADAL" clId="{FF07999E-EC8D-435C-95D5-B8CD345C58D7}" dt="2023-03-03T13:30:00.573" v="3350" actId="47"/>
        <pc:sldMkLst>
          <pc:docMk/>
          <pc:sldMk cId="151017795" sldId="2147469917"/>
        </pc:sldMkLst>
      </pc:sldChg>
      <pc:sldChg chg="modSp mod">
        <pc:chgData name="Alex Powers" userId="ae4a1fc7-4395-46d3-b2f1-3b3c37036ad1" providerId="ADAL" clId="{FF07999E-EC8D-435C-95D5-B8CD345C58D7}" dt="2023-03-03T13:31:03.538" v="3351" actId="1076"/>
        <pc:sldMkLst>
          <pc:docMk/>
          <pc:sldMk cId="1624631161" sldId="2147469920"/>
        </pc:sldMkLst>
        <pc:spChg chg="mod">
          <ac:chgData name="Alex Powers" userId="ae4a1fc7-4395-46d3-b2f1-3b3c37036ad1" providerId="ADAL" clId="{FF07999E-EC8D-435C-95D5-B8CD345C58D7}" dt="2023-03-03T13:31:03.538" v="3351" actId="1076"/>
          <ac:spMkLst>
            <pc:docMk/>
            <pc:sldMk cId="1624631161" sldId="2147469920"/>
            <ac:spMk id="12" creationId="{5AD6F86F-44A9-43D0-B579-CAF1D6C10211}"/>
          </ac:spMkLst>
        </pc:spChg>
      </pc:sldChg>
      <pc:sldChg chg="del">
        <pc:chgData name="Alex Powers" userId="ae4a1fc7-4395-46d3-b2f1-3b3c37036ad1" providerId="ADAL" clId="{FF07999E-EC8D-435C-95D5-B8CD345C58D7}" dt="2023-03-03T13:29:43.908" v="3349" actId="47"/>
        <pc:sldMkLst>
          <pc:docMk/>
          <pc:sldMk cId="3242872128" sldId="2147469922"/>
        </pc:sldMkLst>
      </pc:sldChg>
      <pc:sldChg chg="mod modShow">
        <pc:chgData name="Alex Powers" userId="ae4a1fc7-4395-46d3-b2f1-3b3c37036ad1" providerId="ADAL" clId="{FF07999E-EC8D-435C-95D5-B8CD345C58D7}" dt="2023-03-07T21:25:25.711" v="4573" actId="729"/>
        <pc:sldMkLst>
          <pc:docMk/>
          <pc:sldMk cId="3668029706" sldId="2147469924"/>
        </pc:sldMkLst>
      </pc:sldChg>
      <pc:sldChg chg="mod modShow">
        <pc:chgData name="Alex Powers" userId="ae4a1fc7-4395-46d3-b2f1-3b3c37036ad1" providerId="ADAL" clId="{FF07999E-EC8D-435C-95D5-B8CD345C58D7}" dt="2023-03-07T21:25:25.711" v="4573" actId="729"/>
        <pc:sldMkLst>
          <pc:docMk/>
          <pc:sldMk cId="1325742945" sldId="2147469928"/>
        </pc:sldMkLst>
      </pc:sldChg>
      <pc:sldChg chg="mod modShow">
        <pc:chgData name="Alex Powers" userId="ae4a1fc7-4395-46d3-b2f1-3b3c37036ad1" providerId="ADAL" clId="{FF07999E-EC8D-435C-95D5-B8CD345C58D7}" dt="2023-03-07T21:25:25.711" v="4573" actId="729"/>
        <pc:sldMkLst>
          <pc:docMk/>
          <pc:sldMk cId="2126424020" sldId="2147469929"/>
        </pc:sldMkLst>
      </pc:sldChg>
      <pc:sldChg chg="mod modShow">
        <pc:chgData name="Alex Powers" userId="ae4a1fc7-4395-46d3-b2f1-3b3c37036ad1" providerId="ADAL" clId="{FF07999E-EC8D-435C-95D5-B8CD345C58D7}" dt="2023-03-07T21:25:25.711" v="4573" actId="729"/>
        <pc:sldMkLst>
          <pc:docMk/>
          <pc:sldMk cId="1088865837" sldId="2147469933"/>
        </pc:sldMkLst>
      </pc:sldChg>
      <pc:sldChg chg="mod modShow">
        <pc:chgData name="Alex Powers" userId="ae4a1fc7-4395-46d3-b2f1-3b3c37036ad1" providerId="ADAL" clId="{FF07999E-EC8D-435C-95D5-B8CD345C58D7}" dt="2023-03-07T21:25:25.711" v="4573" actId="729"/>
        <pc:sldMkLst>
          <pc:docMk/>
          <pc:sldMk cId="1267878795" sldId="2147469935"/>
        </pc:sldMkLst>
      </pc:sldChg>
      <pc:sldChg chg="mod modShow">
        <pc:chgData name="Alex Powers" userId="ae4a1fc7-4395-46d3-b2f1-3b3c37036ad1" providerId="ADAL" clId="{FF07999E-EC8D-435C-95D5-B8CD345C58D7}" dt="2023-03-07T21:25:25.711" v="4573" actId="729"/>
        <pc:sldMkLst>
          <pc:docMk/>
          <pc:sldMk cId="1523162095" sldId="2147469938"/>
        </pc:sldMkLst>
      </pc:sldChg>
      <pc:sldChg chg="mod modShow">
        <pc:chgData name="Alex Powers" userId="ae4a1fc7-4395-46d3-b2f1-3b3c37036ad1" providerId="ADAL" clId="{FF07999E-EC8D-435C-95D5-B8CD345C58D7}" dt="2023-03-07T21:25:25.711" v="4573" actId="729"/>
        <pc:sldMkLst>
          <pc:docMk/>
          <pc:sldMk cId="828245894" sldId="2147469939"/>
        </pc:sldMkLst>
      </pc:sldChg>
      <pc:sldChg chg="mod modShow">
        <pc:chgData name="Alex Powers" userId="ae4a1fc7-4395-46d3-b2f1-3b3c37036ad1" providerId="ADAL" clId="{FF07999E-EC8D-435C-95D5-B8CD345C58D7}" dt="2023-03-07T21:25:25.711" v="4573" actId="729"/>
        <pc:sldMkLst>
          <pc:docMk/>
          <pc:sldMk cId="3376837703" sldId="2147469940"/>
        </pc:sldMkLst>
      </pc:sldChg>
      <pc:sldChg chg="mod modShow">
        <pc:chgData name="Alex Powers" userId="ae4a1fc7-4395-46d3-b2f1-3b3c37036ad1" providerId="ADAL" clId="{FF07999E-EC8D-435C-95D5-B8CD345C58D7}" dt="2023-03-07T21:25:25.711" v="4573" actId="729"/>
        <pc:sldMkLst>
          <pc:docMk/>
          <pc:sldMk cId="282525141" sldId="2147469941"/>
        </pc:sldMkLst>
      </pc:sldChg>
      <pc:sldChg chg="mod modShow">
        <pc:chgData name="Alex Powers" userId="ae4a1fc7-4395-46d3-b2f1-3b3c37036ad1" providerId="ADAL" clId="{FF07999E-EC8D-435C-95D5-B8CD345C58D7}" dt="2023-03-07T21:25:25.711" v="4573" actId="729"/>
        <pc:sldMkLst>
          <pc:docMk/>
          <pc:sldMk cId="2768878279" sldId="2147469942"/>
        </pc:sldMkLst>
      </pc:sldChg>
      <pc:sldChg chg="mod modShow">
        <pc:chgData name="Alex Powers" userId="ae4a1fc7-4395-46d3-b2f1-3b3c37036ad1" providerId="ADAL" clId="{FF07999E-EC8D-435C-95D5-B8CD345C58D7}" dt="2023-03-07T21:25:25.711" v="4573" actId="729"/>
        <pc:sldMkLst>
          <pc:docMk/>
          <pc:sldMk cId="1545043609" sldId="2147469943"/>
        </pc:sldMkLst>
      </pc:sldChg>
      <pc:sldChg chg="add del">
        <pc:chgData name="Alex Powers" userId="ae4a1fc7-4395-46d3-b2f1-3b3c37036ad1" providerId="ADAL" clId="{FF07999E-EC8D-435C-95D5-B8CD345C58D7}" dt="2023-02-22T16:20:11.449" v="1782" actId="47"/>
        <pc:sldMkLst>
          <pc:docMk/>
          <pc:sldMk cId="1858130895" sldId="2147469945"/>
        </pc:sldMkLst>
      </pc:sldChg>
      <pc:sldChg chg="del">
        <pc:chgData name="Alex Powers" userId="ae4a1fc7-4395-46d3-b2f1-3b3c37036ad1" providerId="ADAL" clId="{FF07999E-EC8D-435C-95D5-B8CD345C58D7}" dt="2023-02-22T16:17:50.196" v="1703" actId="2696"/>
        <pc:sldMkLst>
          <pc:docMk/>
          <pc:sldMk cId="2524957959" sldId="2147469945"/>
        </pc:sldMkLst>
      </pc:sldChg>
      <pc:sldChg chg="modSp mod modAnim">
        <pc:chgData name="Alex Powers" userId="ae4a1fc7-4395-46d3-b2f1-3b3c37036ad1" providerId="ADAL" clId="{FF07999E-EC8D-435C-95D5-B8CD345C58D7}" dt="2023-02-22T16:15:10.986" v="1701" actId="20577"/>
        <pc:sldMkLst>
          <pc:docMk/>
          <pc:sldMk cId="2308292781" sldId="2147469956"/>
        </pc:sldMkLst>
        <pc:spChg chg="mod">
          <ac:chgData name="Alex Powers" userId="ae4a1fc7-4395-46d3-b2f1-3b3c37036ad1" providerId="ADAL" clId="{FF07999E-EC8D-435C-95D5-B8CD345C58D7}" dt="2023-02-22T16:15:10.986" v="1701" actId="20577"/>
          <ac:spMkLst>
            <pc:docMk/>
            <pc:sldMk cId="2308292781" sldId="2147469956"/>
            <ac:spMk id="5" creationId="{F1A1FFD5-C456-44EB-A603-F704C281AD6C}"/>
          </ac:spMkLst>
        </pc:spChg>
        <pc:spChg chg="mod">
          <ac:chgData name="Alex Powers" userId="ae4a1fc7-4395-46d3-b2f1-3b3c37036ad1" providerId="ADAL" clId="{FF07999E-EC8D-435C-95D5-B8CD345C58D7}" dt="2023-02-22T16:12:56.766" v="1653" actId="20577"/>
          <ac:spMkLst>
            <pc:docMk/>
            <pc:sldMk cId="2308292781" sldId="2147469956"/>
            <ac:spMk id="7" creationId="{4C3AEDD1-7AF0-4617-B9A5-3CB333EA9FC7}"/>
          </ac:spMkLst>
        </pc:spChg>
      </pc:sldChg>
      <pc:sldChg chg="modSp mod modAnim">
        <pc:chgData name="Alex Powers" userId="ae4a1fc7-4395-46d3-b2f1-3b3c37036ad1" providerId="ADAL" clId="{FF07999E-EC8D-435C-95D5-B8CD345C58D7}" dt="2023-03-08T02:00:20.126" v="4660" actId="113"/>
        <pc:sldMkLst>
          <pc:docMk/>
          <pc:sldMk cId="2488301222" sldId="2147469958"/>
        </pc:sldMkLst>
        <pc:spChg chg="mod">
          <ac:chgData name="Alex Powers" userId="ae4a1fc7-4395-46d3-b2f1-3b3c37036ad1" providerId="ADAL" clId="{FF07999E-EC8D-435C-95D5-B8CD345C58D7}" dt="2023-03-08T02:00:20.126" v="4660" actId="113"/>
          <ac:spMkLst>
            <pc:docMk/>
            <pc:sldMk cId="2488301222" sldId="2147469958"/>
            <ac:spMk id="6" creationId="{D5957D0F-43EF-47AA-A9B7-AC33B7AF4E6C}"/>
          </ac:spMkLst>
        </pc:spChg>
      </pc:sldChg>
      <pc:sldChg chg="mod modShow">
        <pc:chgData name="Alex Powers" userId="ae4a1fc7-4395-46d3-b2f1-3b3c37036ad1" providerId="ADAL" clId="{FF07999E-EC8D-435C-95D5-B8CD345C58D7}" dt="2023-03-07T21:25:25.711" v="4573" actId="729"/>
        <pc:sldMkLst>
          <pc:docMk/>
          <pc:sldMk cId="1605086997" sldId="2147469961"/>
        </pc:sldMkLst>
      </pc:sldChg>
      <pc:sldChg chg="mod modShow">
        <pc:chgData name="Alex Powers" userId="ae4a1fc7-4395-46d3-b2f1-3b3c37036ad1" providerId="ADAL" clId="{FF07999E-EC8D-435C-95D5-B8CD345C58D7}" dt="2023-03-07T21:25:25.711" v="4573" actId="729"/>
        <pc:sldMkLst>
          <pc:docMk/>
          <pc:sldMk cId="3615317182" sldId="2147469962"/>
        </pc:sldMkLst>
      </pc:sldChg>
      <pc:sldChg chg="mod modShow">
        <pc:chgData name="Alex Powers" userId="ae4a1fc7-4395-46d3-b2f1-3b3c37036ad1" providerId="ADAL" clId="{FF07999E-EC8D-435C-95D5-B8CD345C58D7}" dt="2023-03-07T21:25:25.711" v="4573" actId="729"/>
        <pc:sldMkLst>
          <pc:docMk/>
          <pc:sldMk cId="2380613186" sldId="2147469977"/>
        </pc:sldMkLst>
      </pc:sldChg>
      <pc:sldChg chg="mod modShow">
        <pc:chgData name="Alex Powers" userId="ae4a1fc7-4395-46d3-b2f1-3b3c37036ad1" providerId="ADAL" clId="{FF07999E-EC8D-435C-95D5-B8CD345C58D7}" dt="2023-03-07T21:25:25.711" v="4573" actId="729"/>
        <pc:sldMkLst>
          <pc:docMk/>
          <pc:sldMk cId="1860000104" sldId="2147469978"/>
        </pc:sldMkLst>
      </pc:sldChg>
      <pc:sldChg chg="mod modShow">
        <pc:chgData name="Alex Powers" userId="ae4a1fc7-4395-46d3-b2f1-3b3c37036ad1" providerId="ADAL" clId="{FF07999E-EC8D-435C-95D5-B8CD345C58D7}" dt="2023-03-07T21:25:25.711" v="4573" actId="729"/>
        <pc:sldMkLst>
          <pc:docMk/>
          <pc:sldMk cId="590942111" sldId="2147469980"/>
        </pc:sldMkLst>
      </pc:sldChg>
      <pc:sldChg chg="del">
        <pc:chgData name="Alex Powers" userId="ae4a1fc7-4395-46d3-b2f1-3b3c37036ad1" providerId="ADAL" clId="{FF07999E-EC8D-435C-95D5-B8CD345C58D7}" dt="2023-03-03T13:30:00.573" v="3350" actId="47"/>
        <pc:sldMkLst>
          <pc:docMk/>
          <pc:sldMk cId="148994746" sldId="2147469981"/>
        </pc:sldMkLst>
      </pc:sldChg>
      <pc:sldChg chg="mod modShow">
        <pc:chgData name="Alex Powers" userId="ae4a1fc7-4395-46d3-b2f1-3b3c37036ad1" providerId="ADAL" clId="{FF07999E-EC8D-435C-95D5-B8CD345C58D7}" dt="2023-03-07T21:25:25.711" v="4573" actId="729"/>
        <pc:sldMkLst>
          <pc:docMk/>
          <pc:sldMk cId="4151663203" sldId="2147469989"/>
        </pc:sldMkLst>
      </pc:sldChg>
      <pc:sldChg chg="modSp mod modShow">
        <pc:chgData name="Alex Powers" userId="ae4a1fc7-4395-46d3-b2f1-3b3c37036ad1" providerId="ADAL" clId="{FF07999E-EC8D-435C-95D5-B8CD345C58D7}" dt="2023-03-07T21:03:41.136" v="4570" actId="6549"/>
        <pc:sldMkLst>
          <pc:docMk/>
          <pc:sldMk cId="2580878638" sldId="2147469997"/>
        </pc:sldMkLst>
        <pc:spChg chg="mod">
          <ac:chgData name="Alex Powers" userId="ae4a1fc7-4395-46d3-b2f1-3b3c37036ad1" providerId="ADAL" clId="{FF07999E-EC8D-435C-95D5-B8CD345C58D7}" dt="2023-02-08T17:27:37.959" v="27" actId="20577"/>
          <ac:spMkLst>
            <pc:docMk/>
            <pc:sldMk cId="2580878638" sldId="2147469997"/>
            <ac:spMk id="4" creationId="{C8F1E3C8-B98E-45A3-87C1-4650493983B3}"/>
          </ac:spMkLst>
        </pc:spChg>
        <pc:spChg chg="mod">
          <ac:chgData name="Alex Powers" userId="ae4a1fc7-4395-46d3-b2f1-3b3c37036ad1" providerId="ADAL" clId="{FF07999E-EC8D-435C-95D5-B8CD345C58D7}" dt="2023-03-07T21:03:41.136" v="4570" actId="6549"/>
          <ac:spMkLst>
            <pc:docMk/>
            <pc:sldMk cId="2580878638" sldId="2147469997"/>
            <ac:spMk id="5" creationId="{032173C7-D62D-44EA-887D-AAA626A308F6}"/>
          </ac:spMkLst>
        </pc:spChg>
      </pc:sldChg>
      <pc:sldChg chg="del">
        <pc:chgData name="Alex Powers" userId="ae4a1fc7-4395-46d3-b2f1-3b3c37036ad1" providerId="ADAL" clId="{FF07999E-EC8D-435C-95D5-B8CD345C58D7}" dt="2023-02-22T14:17:18.659" v="1563" actId="47"/>
        <pc:sldMkLst>
          <pc:docMk/>
          <pc:sldMk cId="2194558404" sldId="2147469998"/>
        </pc:sldMkLst>
      </pc:sldChg>
      <pc:sldChg chg="mod modShow">
        <pc:chgData name="Alex Powers" userId="ae4a1fc7-4395-46d3-b2f1-3b3c37036ad1" providerId="ADAL" clId="{FF07999E-EC8D-435C-95D5-B8CD345C58D7}" dt="2023-02-22T16:33:13.887" v="2020" actId="729"/>
        <pc:sldMkLst>
          <pc:docMk/>
          <pc:sldMk cId="1979941133" sldId="2147470002"/>
        </pc:sldMkLst>
      </pc:sldChg>
      <pc:sldChg chg="del">
        <pc:chgData name="Alex Powers" userId="ae4a1fc7-4395-46d3-b2f1-3b3c37036ad1" providerId="ADAL" clId="{FF07999E-EC8D-435C-95D5-B8CD345C58D7}" dt="2023-02-08T17:27:24.232" v="26" actId="47"/>
        <pc:sldMkLst>
          <pc:docMk/>
          <pc:sldMk cId="1492071313" sldId="2147470003"/>
        </pc:sldMkLst>
      </pc:sldChg>
      <pc:sldChg chg="del">
        <pc:chgData name="Alex Powers" userId="ae4a1fc7-4395-46d3-b2f1-3b3c37036ad1" providerId="ADAL" clId="{FF07999E-EC8D-435C-95D5-B8CD345C58D7}" dt="2023-02-22T14:14:27.346" v="1500" actId="47"/>
        <pc:sldMkLst>
          <pc:docMk/>
          <pc:sldMk cId="4111129342" sldId="2147470004"/>
        </pc:sldMkLst>
      </pc:sldChg>
      <pc:sldChg chg="del">
        <pc:chgData name="Alex Powers" userId="ae4a1fc7-4395-46d3-b2f1-3b3c37036ad1" providerId="ADAL" clId="{FF07999E-EC8D-435C-95D5-B8CD345C58D7}" dt="2023-02-22T13:26:16.120" v="1412" actId="47"/>
        <pc:sldMkLst>
          <pc:docMk/>
          <pc:sldMk cId="2483214558" sldId="2147470005"/>
        </pc:sldMkLst>
      </pc:sldChg>
      <pc:sldChg chg="del mod modShow">
        <pc:chgData name="Alex Powers" userId="ae4a1fc7-4395-46d3-b2f1-3b3c37036ad1" providerId="ADAL" clId="{FF07999E-EC8D-435C-95D5-B8CD345C58D7}" dt="2023-02-22T16:29:54.032" v="1914" actId="2696"/>
        <pc:sldMkLst>
          <pc:docMk/>
          <pc:sldMk cId="882698997" sldId="2147470006"/>
        </pc:sldMkLst>
      </pc:sldChg>
      <pc:sldChg chg="add">
        <pc:chgData name="Alex Powers" userId="ae4a1fc7-4395-46d3-b2f1-3b3c37036ad1" providerId="ADAL" clId="{FF07999E-EC8D-435C-95D5-B8CD345C58D7}" dt="2023-02-22T16:29:59.457" v="1915"/>
        <pc:sldMkLst>
          <pc:docMk/>
          <pc:sldMk cId="3401039702" sldId="2147470006"/>
        </pc:sldMkLst>
      </pc:sldChg>
      <pc:sldChg chg="ord">
        <pc:chgData name="Alex Powers" userId="ae4a1fc7-4395-46d3-b2f1-3b3c37036ad1" providerId="ADAL" clId="{FF07999E-EC8D-435C-95D5-B8CD345C58D7}" dt="2023-02-22T14:12:28.211" v="1499"/>
        <pc:sldMkLst>
          <pc:docMk/>
          <pc:sldMk cId="3916173309" sldId="2147470007"/>
        </pc:sldMkLst>
      </pc:sldChg>
      <pc:sldChg chg="ord">
        <pc:chgData name="Alex Powers" userId="ae4a1fc7-4395-46d3-b2f1-3b3c37036ad1" providerId="ADAL" clId="{FF07999E-EC8D-435C-95D5-B8CD345C58D7}" dt="2023-02-22T14:12:28.211" v="1499"/>
        <pc:sldMkLst>
          <pc:docMk/>
          <pc:sldMk cId="1439426021" sldId="2147470008"/>
        </pc:sldMkLst>
      </pc:sldChg>
      <pc:sldChg chg="ord">
        <pc:chgData name="Alex Powers" userId="ae4a1fc7-4395-46d3-b2f1-3b3c37036ad1" providerId="ADAL" clId="{FF07999E-EC8D-435C-95D5-B8CD345C58D7}" dt="2023-02-22T14:12:28.211" v="1499"/>
        <pc:sldMkLst>
          <pc:docMk/>
          <pc:sldMk cId="1079864653" sldId="2147470009"/>
        </pc:sldMkLst>
      </pc:sldChg>
      <pc:sldChg chg="del">
        <pc:chgData name="Alex Powers" userId="ae4a1fc7-4395-46d3-b2f1-3b3c37036ad1" providerId="ADAL" clId="{FF07999E-EC8D-435C-95D5-B8CD345C58D7}" dt="2023-02-08T17:25:57.112" v="25" actId="47"/>
        <pc:sldMkLst>
          <pc:docMk/>
          <pc:sldMk cId="2337724613" sldId="2147470010"/>
        </pc:sldMkLst>
      </pc:sldChg>
      <pc:sldChg chg="del">
        <pc:chgData name="Alex Powers" userId="ae4a1fc7-4395-46d3-b2f1-3b3c37036ad1" providerId="ADAL" clId="{FF07999E-EC8D-435C-95D5-B8CD345C58D7}" dt="2023-02-08T17:25:57.112" v="25" actId="47"/>
        <pc:sldMkLst>
          <pc:docMk/>
          <pc:sldMk cId="4049856942" sldId="2147470011"/>
        </pc:sldMkLst>
      </pc:sldChg>
      <pc:sldChg chg="del">
        <pc:chgData name="Alex Powers" userId="ae4a1fc7-4395-46d3-b2f1-3b3c37036ad1" providerId="ADAL" clId="{FF07999E-EC8D-435C-95D5-B8CD345C58D7}" dt="2023-02-08T17:25:57.112" v="25" actId="47"/>
        <pc:sldMkLst>
          <pc:docMk/>
          <pc:sldMk cId="4131539047" sldId="2147470012"/>
        </pc:sldMkLst>
      </pc:sldChg>
      <pc:sldChg chg="del">
        <pc:chgData name="Alex Powers" userId="ae4a1fc7-4395-46d3-b2f1-3b3c37036ad1" providerId="ADAL" clId="{FF07999E-EC8D-435C-95D5-B8CD345C58D7}" dt="2023-02-08T17:25:57.112" v="25" actId="47"/>
        <pc:sldMkLst>
          <pc:docMk/>
          <pc:sldMk cId="1221072378" sldId="2147470013"/>
        </pc:sldMkLst>
      </pc:sldChg>
      <pc:sldChg chg="del mod modShow">
        <pc:chgData name="Alex Powers" userId="ae4a1fc7-4395-46d3-b2f1-3b3c37036ad1" providerId="ADAL" clId="{FF07999E-EC8D-435C-95D5-B8CD345C58D7}" dt="2023-02-22T16:29:54.032" v="1914" actId="2696"/>
        <pc:sldMkLst>
          <pc:docMk/>
          <pc:sldMk cId="1820482319" sldId="2147470015"/>
        </pc:sldMkLst>
      </pc:sldChg>
      <pc:sldChg chg="add">
        <pc:chgData name="Alex Powers" userId="ae4a1fc7-4395-46d3-b2f1-3b3c37036ad1" providerId="ADAL" clId="{FF07999E-EC8D-435C-95D5-B8CD345C58D7}" dt="2023-02-22T16:29:59.457" v="1915"/>
        <pc:sldMkLst>
          <pc:docMk/>
          <pc:sldMk cId="4169422848" sldId="2147470015"/>
        </pc:sldMkLst>
      </pc:sldChg>
      <pc:sldChg chg="del">
        <pc:chgData name="Alex Powers" userId="ae4a1fc7-4395-46d3-b2f1-3b3c37036ad1" providerId="ADAL" clId="{FF07999E-EC8D-435C-95D5-B8CD345C58D7}" dt="2023-02-22T16:17:40.321" v="1702" actId="47"/>
        <pc:sldMkLst>
          <pc:docMk/>
          <pc:sldMk cId="1292939250" sldId="2147470016"/>
        </pc:sldMkLst>
      </pc:sldChg>
      <pc:sldChg chg="del">
        <pc:chgData name="Alex Powers" userId="ae4a1fc7-4395-46d3-b2f1-3b3c37036ad1" providerId="ADAL" clId="{FF07999E-EC8D-435C-95D5-B8CD345C58D7}" dt="2023-02-22T16:32:54.997" v="2017" actId="47"/>
        <pc:sldMkLst>
          <pc:docMk/>
          <pc:sldMk cId="1281316738" sldId="2147470017"/>
        </pc:sldMkLst>
      </pc:sldChg>
      <pc:sldChg chg="addSp delSp modSp mod">
        <pc:chgData name="Alex Powers" userId="ae4a1fc7-4395-46d3-b2f1-3b3c37036ad1" providerId="ADAL" clId="{FF07999E-EC8D-435C-95D5-B8CD345C58D7}" dt="2023-03-03T13:31:15.207" v="3353"/>
        <pc:sldMkLst>
          <pc:docMk/>
          <pc:sldMk cId="2660385707" sldId="2147470018"/>
        </pc:sldMkLst>
        <pc:spChg chg="add mod">
          <ac:chgData name="Alex Powers" userId="ae4a1fc7-4395-46d3-b2f1-3b3c37036ad1" providerId="ADAL" clId="{FF07999E-EC8D-435C-95D5-B8CD345C58D7}" dt="2023-03-03T13:31:15.207" v="3353"/>
          <ac:spMkLst>
            <pc:docMk/>
            <pc:sldMk cId="2660385707" sldId="2147470018"/>
            <ac:spMk id="4" creationId="{3A537867-72FC-297A-E715-2FEB132B18F0}"/>
          </ac:spMkLst>
        </pc:spChg>
        <pc:spChg chg="del">
          <ac:chgData name="Alex Powers" userId="ae4a1fc7-4395-46d3-b2f1-3b3c37036ad1" providerId="ADAL" clId="{FF07999E-EC8D-435C-95D5-B8CD345C58D7}" dt="2023-03-03T13:31:13.990" v="3352" actId="478"/>
          <ac:spMkLst>
            <pc:docMk/>
            <pc:sldMk cId="2660385707" sldId="2147470018"/>
            <ac:spMk id="21" creationId="{68C0AFA7-9C61-4CC0-B5E4-DA3E4BE94EDA}"/>
          </ac:spMkLst>
        </pc:spChg>
      </pc:sldChg>
      <pc:sldChg chg="modSp mod">
        <pc:chgData name="Alex Powers" userId="ae4a1fc7-4395-46d3-b2f1-3b3c37036ad1" providerId="ADAL" clId="{FF07999E-EC8D-435C-95D5-B8CD345C58D7}" dt="2023-02-11T18:53:29.311" v="1343" actId="20577"/>
        <pc:sldMkLst>
          <pc:docMk/>
          <pc:sldMk cId="3255266748" sldId="2147470029"/>
        </pc:sldMkLst>
        <pc:spChg chg="mod">
          <ac:chgData name="Alex Powers" userId="ae4a1fc7-4395-46d3-b2f1-3b3c37036ad1" providerId="ADAL" clId="{FF07999E-EC8D-435C-95D5-B8CD345C58D7}" dt="2023-02-11T18:53:29.311" v="1343" actId="20577"/>
          <ac:spMkLst>
            <pc:docMk/>
            <pc:sldMk cId="3255266748" sldId="2147470029"/>
            <ac:spMk id="142" creationId="{CE8813FB-2DD8-4D1F-8F33-704BF1DB97F9}"/>
          </ac:spMkLst>
        </pc:spChg>
      </pc:sldChg>
      <pc:sldChg chg="modSp mod">
        <pc:chgData name="Alex Powers" userId="ae4a1fc7-4395-46d3-b2f1-3b3c37036ad1" providerId="ADAL" clId="{FF07999E-EC8D-435C-95D5-B8CD345C58D7}" dt="2023-02-22T13:24:44.940" v="1408" actId="20577"/>
        <pc:sldMkLst>
          <pc:docMk/>
          <pc:sldMk cId="1737087969" sldId="2147470033"/>
        </pc:sldMkLst>
        <pc:spChg chg="mod">
          <ac:chgData name="Alex Powers" userId="ae4a1fc7-4395-46d3-b2f1-3b3c37036ad1" providerId="ADAL" clId="{FF07999E-EC8D-435C-95D5-B8CD345C58D7}" dt="2023-02-22T13:24:44.940" v="1408" actId="20577"/>
          <ac:spMkLst>
            <pc:docMk/>
            <pc:sldMk cId="1737087969" sldId="2147470033"/>
            <ac:spMk id="142" creationId="{CE8813FB-2DD8-4D1F-8F33-704BF1DB97F9}"/>
          </ac:spMkLst>
        </pc:spChg>
      </pc:sldChg>
      <pc:sldChg chg="mod modShow">
        <pc:chgData name="Alex Powers" userId="ae4a1fc7-4395-46d3-b2f1-3b3c37036ad1" providerId="ADAL" clId="{FF07999E-EC8D-435C-95D5-B8CD345C58D7}" dt="2023-03-07T21:25:25.711" v="4573" actId="729"/>
        <pc:sldMkLst>
          <pc:docMk/>
          <pc:sldMk cId="3435564117" sldId="2147470035"/>
        </pc:sldMkLst>
      </pc:sldChg>
      <pc:sldChg chg="addSp delSp modSp add mod ord delAnim modAnim">
        <pc:chgData name="Alex Powers" userId="ae4a1fc7-4395-46d3-b2f1-3b3c37036ad1" providerId="ADAL" clId="{FF07999E-EC8D-435C-95D5-B8CD345C58D7}" dt="2023-02-22T13:23:33.426" v="1404" actId="12789"/>
        <pc:sldMkLst>
          <pc:docMk/>
          <pc:sldMk cId="3026600060" sldId="2147470037"/>
        </pc:sldMkLst>
        <pc:spChg chg="add del mod">
          <ac:chgData name="Alex Powers" userId="ae4a1fc7-4395-46d3-b2f1-3b3c37036ad1" providerId="ADAL" clId="{FF07999E-EC8D-435C-95D5-B8CD345C58D7}" dt="2023-02-08T17:47:46.587" v="74" actId="478"/>
          <ac:spMkLst>
            <pc:docMk/>
            <pc:sldMk cId="3026600060" sldId="2147470037"/>
            <ac:spMk id="6" creationId="{2FF5A937-A202-4B74-8453-665265C90FC9}"/>
          </ac:spMkLst>
        </pc:spChg>
        <pc:spChg chg="mod">
          <ac:chgData name="Alex Powers" userId="ae4a1fc7-4395-46d3-b2f1-3b3c37036ad1" providerId="ADAL" clId="{FF07999E-EC8D-435C-95D5-B8CD345C58D7}" dt="2023-02-22T13:23:33.426" v="1404" actId="12789"/>
          <ac:spMkLst>
            <pc:docMk/>
            <pc:sldMk cId="3026600060" sldId="2147470037"/>
            <ac:spMk id="7" creationId="{31270810-ED89-415E-B487-8B7CD44605BC}"/>
          </ac:spMkLst>
        </pc:spChg>
        <pc:spChg chg="mod">
          <ac:chgData name="Alex Powers" userId="ae4a1fc7-4395-46d3-b2f1-3b3c37036ad1" providerId="ADAL" clId="{FF07999E-EC8D-435C-95D5-B8CD345C58D7}" dt="2023-02-22T13:23:33.426" v="1404" actId="12789"/>
          <ac:spMkLst>
            <pc:docMk/>
            <pc:sldMk cId="3026600060" sldId="2147470037"/>
            <ac:spMk id="9" creationId="{0977A2E0-A182-4C11-B815-88B257E1642F}"/>
          </ac:spMkLst>
        </pc:spChg>
        <pc:spChg chg="mod">
          <ac:chgData name="Alex Powers" userId="ae4a1fc7-4395-46d3-b2f1-3b3c37036ad1" providerId="ADAL" clId="{FF07999E-EC8D-435C-95D5-B8CD345C58D7}" dt="2023-02-08T17:48:29.740" v="84" actId="1076"/>
          <ac:spMkLst>
            <pc:docMk/>
            <pc:sldMk cId="3026600060" sldId="2147470037"/>
            <ac:spMk id="10" creationId="{B0154E7A-9CEF-42E4-9393-76973B939CB7}"/>
          </ac:spMkLst>
        </pc:spChg>
        <pc:grpChg chg="add del mod">
          <ac:chgData name="Alex Powers" userId="ae4a1fc7-4395-46d3-b2f1-3b3c37036ad1" providerId="ADAL" clId="{FF07999E-EC8D-435C-95D5-B8CD345C58D7}" dt="2023-02-08T17:42:00.240" v="34" actId="164"/>
          <ac:grpSpMkLst>
            <pc:docMk/>
            <pc:sldMk cId="3026600060" sldId="2147470037"/>
            <ac:grpSpMk id="2" creationId="{6F5A0DFB-7C6C-EF68-1888-717AFFE4085B}"/>
          </ac:grpSpMkLst>
        </pc:grpChg>
        <pc:grpChg chg="add mod">
          <ac:chgData name="Alex Powers" userId="ae4a1fc7-4395-46d3-b2f1-3b3c37036ad1" providerId="ADAL" clId="{FF07999E-EC8D-435C-95D5-B8CD345C58D7}" dt="2023-02-22T13:23:33.426" v="1404" actId="12789"/>
          <ac:grpSpMkLst>
            <pc:docMk/>
            <pc:sldMk cId="3026600060" sldId="2147470037"/>
            <ac:grpSpMk id="2" creationId="{C7E1FB3A-5E17-2C5B-F201-7D8395E72301}"/>
          </ac:grpSpMkLst>
        </pc:grpChg>
        <pc:grpChg chg="add mod">
          <ac:chgData name="Alex Powers" userId="ae4a1fc7-4395-46d3-b2f1-3b3c37036ad1" providerId="ADAL" clId="{FF07999E-EC8D-435C-95D5-B8CD345C58D7}" dt="2023-02-08T17:48:29.740" v="84" actId="1076"/>
          <ac:grpSpMkLst>
            <pc:docMk/>
            <pc:sldMk cId="3026600060" sldId="2147470037"/>
            <ac:grpSpMk id="5" creationId="{E3AC5406-13CD-7070-38CF-28F76D9C01B6}"/>
          </ac:grpSpMkLst>
        </pc:grpChg>
        <pc:grpChg chg="add del mod">
          <ac:chgData name="Alex Powers" userId="ae4a1fc7-4395-46d3-b2f1-3b3c37036ad1" providerId="ADAL" clId="{FF07999E-EC8D-435C-95D5-B8CD345C58D7}" dt="2023-02-22T13:22:57.946" v="1344" actId="478"/>
          <ac:grpSpMkLst>
            <pc:docMk/>
            <pc:sldMk cId="3026600060" sldId="2147470037"/>
            <ac:grpSpMk id="12" creationId="{BBD21E13-0007-7D96-AA54-19ABA7B6A592}"/>
          </ac:grpSpMkLst>
        </pc:grpChg>
        <pc:grpChg chg="mod topLvl">
          <ac:chgData name="Alex Powers" userId="ae4a1fc7-4395-46d3-b2f1-3b3c37036ad1" providerId="ADAL" clId="{FF07999E-EC8D-435C-95D5-B8CD345C58D7}" dt="2023-02-22T13:23:33.426" v="1404" actId="12789"/>
          <ac:grpSpMkLst>
            <pc:docMk/>
            <pc:sldMk cId="3026600060" sldId="2147470037"/>
            <ac:grpSpMk id="15" creationId="{306F28ED-FEDE-4963-BEE6-9C009E3E4D67}"/>
          </ac:grpSpMkLst>
        </pc:grpChg>
        <pc:grpChg chg="mod topLvl">
          <ac:chgData name="Alex Powers" userId="ae4a1fc7-4395-46d3-b2f1-3b3c37036ad1" providerId="ADAL" clId="{FF07999E-EC8D-435C-95D5-B8CD345C58D7}" dt="2023-02-22T13:23:33.426" v="1404" actId="12789"/>
          <ac:grpSpMkLst>
            <pc:docMk/>
            <pc:sldMk cId="3026600060" sldId="2147470037"/>
            <ac:grpSpMk id="17" creationId="{4046E838-71DF-4EFA-BE12-033083A30315}"/>
          </ac:grpSpMkLst>
        </pc:grpChg>
        <pc:grpChg chg="add del mod">
          <ac:chgData name="Alex Powers" userId="ae4a1fc7-4395-46d3-b2f1-3b3c37036ad1" providerId="ADAL" clId="{FF07999E-EC8D-435C-95D5-B8CD345C58D7}" dt="2023-02-08T17:46:33.749" v="61" actId="478"/>
          <ac:grpSpMkLst>
            <pc:docMk/>
            <pc:sldMk cId="3026600060" sldId="2147470037"/>
            <ac:grpSpMk id="18" creationId="{6E940751-367B-49A4-84F9-DBFC74A84358}"/>
          </ac:grpSpMkLst>
        </pc:grpChg>
        <pc:picChg chg="add mod">
          <ac:chgData name="Alex Powers" userId="ae4a1fc7-4395-46d3-b2f1-3b3c37036ad1" providerId="ADAL" clId="{FF07999E-EC8D-435C-95D5-B8CD345C58D7}" dt="2023-02-08T17:48:29.740" v="84" actId="1076"/>
          <ac:picMkLst>
            <pc:docMk/>
            <pc:sldMk cId="3026600060" sldId="2147470037"/>
            <ac:picMk id="3" creationId="{6B4BBB21-3650-161F-9F15-6DAA6FD455E2}"/>
          </ac:picMkLst>
        </pc:picChg>
        <pc:picChg chg="mod">
          <ac:chgData name="Alex Powers" userId="ae4a1fc7-4395-46d3-b2f1-3b3c37036ad1" providerId="ADAL" clId="{FF07999E-EC8D-435C-95D5-B8CD345C58D7}" dt="2023-02-22T13:23:33.426" v="1404" actId="12789"/>
          <ac:picMkLst>
            <pc:docMk/>
            <pc:sldMk cId="3026600060" sldId="2147470037"/>
            <ac:picMk id="4" creationId="{F8755F4C-D041-41EF-8042-747E523CDAF4}"/>
          </ac:picMkLst>
        </pc:picChg>
        <pc:picChg chg="add mod">
          <ac:chgData name="Alex Powers" userId="ae4a1fc7-4395-46d3-b2f1-3b3c37036ad1" providerId="ADAL" clId="{FF07999E-EC8D-435C-95D5-B8CD345C58D7}" dt="2023-02-08T17:48:29.740" v="84" actId="1076"/>
          <ac:picMkLst>
            <pc:docMk/>
            <pc:sldMk cId="3026600060" sldId="2147470037"/>
            <ac:picMk id="11" creationId="{EADC4C31-AD24-7E0E-E6D9-266399AA7BF8}"/>
          </ac:picMkLst>
        </pc:picChg>
        <pc:picChg chg="add del mod">
          <ac:chgData name="Alex Powers" userId="ae4a1fc7-4395-46d3-b2f1-3b3c37036ad1" providerId="ADAL" clId="{FF07999E-EC8D-435C-95D5-B8CD345C58D7}" dt="2023-02-08T17:46:25.994" v="57" actId="21"/>
          <ac:picMkLst>
            <pc:docMk/>
            <pc:sldMk cId="3026600060" sldId="2147470037"/>
            <ac:picMk id="1026" creationId="{9A5E3027-508E-0189-3256-0A9C9FB935AA}"/>
          </ac:picMkLst>
        </pc:picChg>
        <pc:picChg chg="mod">
          <ac:chgData name="Alex Powers" userId="ae4a1fc7-4395-46d3-b2f1-3b3c37036ad1" providerId="ADAL" clId="{FF07999E-EC8D-435C-95D5-B8CD345C58D7}" dt="2023-02-22T13:23:33.426" v="1404" actId="12789"/>
          <ac:picMkLst>
            <pc:docMk/>
            <pc:sldMk cId="3026600060" sldId="2147470037"/>
            <ac:picMk id="1030" creationId="{C95D7207-2937-45B3-97A1-B01C11D9BE4D}"/>
          </ac:picMkLst>
        </pc:picChg>
        <pc:picChg chg="add del mod">
          <ac:chgData name="Alex Powers" userId="ae4a1fc7-4395-46d3-b2f1-3b3c37036ad1" providerId="ADAL" clId="{FF07999E-EC8D-435C-95D5-B8CD345C58D7}" dt="2023-02-08T17:46:33.749" v="61" actId="478"/>
          <ac:picMkLst>
            <pc:docMk/>
            <pc:sldMk cId="3026600060" sldId="2147470037"/>
            <ac:picMk id="1032" creationId="{B096ECF5-725B-4483-938B-9E2875FD0F79}"/>
          </ac:picMkLst>
        </pc:picChg>
      </pc:sldChg>
      <pc:sldChg chg="modSp add mod">
        <pc:chgData name="Alex Powers" userId="ae4a1fc7-4395-46d3-b2f1-3b3c37036ad1" providerId="ADAL" clId="{FF07999E-EC8D-435C-95D5-B8CD345C58D7}" dt="2023-03-07T21:16:17.267" v="4572" actId="14734"/>
        <pc:sldMkLst>
          <pc:docMk/>
          <pc:sldMk cId="1531936027" sldId="2147470038"/>
        </pc:sldMkLst>
        <pc:spChg chg="mod">
          <ac:chgData name="Alex Powers" userId="ae4a1fc7-4395-46d3-b2f1-3b3c37036ad1" providerId="ADAL" clId="{FF07999E-EC8D-435C-95D5-B8CD345C58D7}" dt="2023-02-08T18:06:15.867" v="238" actId="1076"/>
          <ac:spMkLst>
            <pc:docMk/>
            <pc:sldMk cId="1531936027" sldId="2147470038"/>
            <ac:spMk id="4" creationId="{073A8F06-C566-BAFF-6E2C-C7B7BAA5FABC}"/>
          </ac:spMkLst>
        </pc:spChg>
        <pc:graphicFrameChg chg="mod modGraphic">
          <ac:chgData name="Alex Powers" userId="ae4a1fc7-4395-46d3-b2f1-3b3c37036ad1" providerId="ADAL" clId="{FF07999E-EC8D-435C-95D5-B8CD345C58D7}" dt="2023-03-07T21:16:17.267" v="4572" actId="14734"/>
          <ac:graphicFrameMkLst>
            <pc:docMk/>
            <pc:sldMk cId="1531936027" sldId="2147470038"/>
            <ac:graphicFrameMk id="7" creationId="{3E5C1877-83B6-43B2-8D9F-D6B32A5B8BB7}"/>
          </ac:graphicFrameMkLst>
        </pc:graphicFrameChg>
      </pc:sldChg>
      <pc:sldChg chg="addSp delSp modSp add mod">
        <pc:chgData name="Alex Powers" userId="ae4a1fc7-4395-46d3-b2f1-3b3c37036ad1" providerId="ADAL" clId="{FF07999E-EC8D-435C-95D5-B8CD345C58D7}" dt="2023-03-02T00:57:01.099" v="2330" actId="12788"/>
        <pc:sldMkLst>
          <pc:docMk/>
          <pc:sldMk cId="3020266290" sldId="2147470039"/>
        </pc:sldMkLst>
        <pc:spChg chg="del mod">
          <ac:chgData name="Alex Powers" userId="ae4a1fc7-4395-46d3-b2f1-3b3c37036ad1" providerId="ADAL" clId="{FF07999E-EC8D-435C-95D5-B8CD345C58D7}" dt="2023-03-01T21:52:49.908" v="2152" actId="478"/>
          <ac:spMkLst>
            <pc:docMk/>
            <pc:sldMk cId="3020266290" sldId="2147470039"/>
            <ac:spMk id="2" creationId="{00000000-0000-0000-0000-000000000000}"/>
          </ac:spMkLst>
        </pc:spChg>
        <pc:spChg chg="add del mod">
          <ac:chgData name="Alex Powers" userId="ae4a1fc7-4395-46d3-b2f1-3b3c37036ad1" providerId="ADAL" clId="{FF07999E-EC8D-435C-95D5-B8CD345C58D7}" dt="2023-03-02T00:57:01.099" v="2330" actId="12788"/>
          <ac:spMkLst>
            <pc:docMk/>
            <pc:sldMk cId="3020266290" sldId="2147470039"/>
            <ac:spMk id="3" creationId="{9AADEFE3-F834-052F-AF0C-36FD39E68470}"/>
          </ac:spMkLst>
        </pc:spChg>
        <pc:spChg chg="del mod">
          <ac:chgData name="Alex Powers" userId="ae4a1fc7-4395-46d3-b2f1-3b3c37036ad1" providerId="ADAL" clId="{FF07999E-EC8D-435C-95D5-B8CD345C58D7}" dt="2023-03-01T21:53:07.683" v="2162"/>
          <ac:spMkLst>
            <pc:docMk/>
            <pc:sldMk cId="3020266290" sldId="2147470039"/>
            <ac:spMk id="4" creationId="{0A6BBA13-66A2-9689-F50A-598B57A8481C}"/>
          </ac:spMkLst>
        </pc:spChg>
        <pc:spChg chg="add del mod">
          <ac:chgData name="Alex Powers" userId="ae4a1fc7-4395-46d3-b2f1-3b3c37036ad1" providerId="ADAL" clId="{FF07999E-EC8D-435C-95D5-B8CD345C58D7}" dt="2023-03-01T21:52:51.923" v="2153" actId="478"/>
          <ac:spMkLst>
            <pc:docMk/>
            <pc:sldMk cId="3020266290" sldId="2147470039"/>
            <ac:spMk id="7" creationId="{079F7A40-39FB-33DA-4576-5B476B3B8B9E}"/>
          </ac:spMkLst>
        </pc:spChg>
        <pc:spChg chg="del">
          <ac:chgData name="Alex Powers" userId="ae4a1fc7-4395-46d3-b2f1-3b3c37036ad1" providerId="ADAL" clId="{FF07999E-EC8D-435C-95D5-B8CD345C58D7}" dt="2023-02-11T18:39:54.317" v="484" actId="478"/>
          <ac:spMkLst>
            <pc:docMk/>
            <pc:sldMk cId="3020266290" sldId="2147470039"/>
            <ac:spMk id="8" creationId="{797C0335-7D4C-6A0B-5C4C-E117F9DCF97F}"/>
          </ac:spMkLst>
        </pc:spChg>
        <pc:spChg chg="add mod">
          <ac:chgData name="Alex Powers" userId="ae4a1fc7-4395-46d3-b2f1-3b3c37036ad1" providerId="ADAL" clId="{FF07999E-EC8D-435C-95D5-B8CD345C58D7}" dt="2023-03-02T00:57:01.099" v="2330" actId="12788"/>
          <ac:spMkLst>
            <pc:docMk/>
            <pc:sldMk cId="3020266290" sldId="2147470039"/>
            <ac:spMk id="8" creationId="{A18972E8-BCF3-0341-00A6-CF7F048883BB}"/>
          </ac:spMkLst>
        </pc:spChg>
        <pc:spChg chg="add del mod">
          <ac:chgData name="Alex Powers" userId="ae4a1fc7-4395-46d3-b2f1-3b3c37036ad1" providerId="ADAL" clId="{FF07999E-EC8D-435C-95D5-B8CD345C58D7}" dt="2023-03-01T21:56:28.303" v="2296"/>
          <ac:spMkLst>
            <pc:docMk/>
            <pc:sldMk cId="3020266290" sldId="2147470039"/>
            <ac:spMk id="9" creationId="{097CF0BC-C34C-E43F-AB99-3574790D3D3C}"/>
          </ac:spMkLst>
        </pc:spChg>
        <pc:spChg chg="add del mod">
          <ac:chgData name="Alex Powers" userId="ae4a1fc7-4395-46d3-b2f1-3b3c37036ad1" providerId="ADAL" clId="{FF07999E-EC8D-435C-95D5-B8CD345C58D7}" dt="2023-03-01T21:56:28.304" v="2298"/>
          <ac:spMkLst>
            <pc:docMk/>
            <pc:sldMk cId="3020266290" sldId="2147470039"/>
            <ac:spMk id="10" creationId="{355E01BF-6E71-0EA8-16E4-AF568BE7CC6B}"/>
          </ac:spMkLst>
        </pc:spChg>
        <pc:cxnChg chg="add del mod">
          <ac:chgData name="Alex Powers" userId="ae4a1fc7-4395-46d3-b2f1-3b3c37036ad1" providerId="ADAL" clId="{FF07999E-EC8D-435C-95D5-B8CD345C58D7}" dt="2023-03-02T00:57:01.099" v="2330" actId="12788"/>
          <ac:cxnSpMkLst>
            <pc:docMk/>
            <pc:sldMk cId="3020266290" sldId="2147470039"/>
            <ac:cxnSpMk id="6" creationId="{4CB7DC4D-ABEA-EF64-35B6-9731FB6DB9E5}"/>
          </ac:cxnSpMkLst>
        </pc:cxnChg>
      </pc:sldChg>
      <pc:sldChg chg="modSp add mod ord">
        <pc:chgData name="Alex Powers" userId="ae4a1fc7-4395-46d3-b2f1-3b3c37036ad1" providerId="ADAL" clId="{FF07999E-EC8D-435C-95D5-B8CD345C58D7}" dt="2023-02-22T14:12:28.211" v="1499"/>
        <pc:sldMkLst>
          <pc:docMk/>
          <pc:sldMk cId="1292489040" sldId="2147470040"/>
        </pc:sldMkLst>
        <pc:spChg chg="mod">
          <ac:chgData name="Alex Powers" userId="ae4a1fc7-4395-46d3-b2f1-3b3c37036ad1" providerId="ADAL" clId="{FF07999E-EC8D-435C-95D5-B8CD345C58D7}" dt="2023-02-22T13:28:30.994" v="1497" actId="6549"/>
          <ac:spMkLst>
            <pc:docMk/>
            <pc:sldMk cId="1292489040" sldId="2147470040"/>
            <ac:spMk id="2" creationId="{4BEDC80E-304E-4653-AE93-151A1465E98B}"/>
          </ac:spMkLst>
        </pc:spChg>
      </pc:sldChg>
      <pc:sldChg chg="add del">
        <pc:chgData name="Alex Powers" userId="ae4a1fc7-4395-46d3-b2f1-3b3c37036ad1" providerId="ADAL" clId="{FF07999E-EC8D-435C-95D5-B8CD345C58D7}" dt="2023-02-11T18:48:29.595" v="1062" actId="47"/>
        <pc:sldMkLst>
          <pc:docMk/>
          <pc:sldMk cId="4088218150" sldId="2147470040"/>
        </pc:sldMkLst>
      </pc:sldChg>
      <pc:sldChg chg="modSp add del mod">
        <pc:chgData name="Alex Powers" userId="ae4a1fc7-4395-46d3-b2f1-3b3c37036ad1" providerId="ADAL" clId="{FF07999E-EC8D-435C-95D5-B8CD345C58D7}" dt="2023-02-22T14:15:47.780" v="1525" actId="47"/>
        <pc:sldMkLst>
          <pc:docMk/>
          <pc:sldMk cId="557691477" sldId="2147470041"/>
        </pc:sldMkLst>
        <pc:spChg chg="mod">
          <ac:chgData name="Alex Powers" userId="ae4a1fc7-4395-46d3-b2f1-3b3c37036ad1" providerId="ADAL" clId="{FF07999E-EC8D-435C-95D5-B8CD345C58D7}" dt="2023-02-22T14:15:12.086" v="1515" actId="20577"/>
          <ac:spMkLst>
            <pc:docMk/>
            <pc:sldMk cId="557691477" sldId="2147470041"/>
            <ac:spMk id="5" creationId="{F1A1FFD5-C456-44EB-A603-F704C281AD6C}"/>
          </ac:spMkLst>
        </pc:spChg>
      </pc:sldChg>
      <pc:sldChg chg="addSp delSp modSp add mod ord">
        <pc:chgData name="Alex Powers" userId="ae4a1fc7-4395-46d3-b2f1-3b3c37036ad1" providerId="ADAL" clId="{FF07999E-EC8D-435C-95D5-B8CD345C58D7}" dt="2023-03-08T02:00:41.966" v="4666" actId="20577"/>
        <pc:sldMkLst>
          <pc:docMk/>
          <pc:sldMk cId="229807602" sldId="2147470042"/>
        </pc:sldMkLst>
        <pc:spChg chg="add mod">
          <ac:chgData name="Alex Powers" userId="ae4a1fc7-4395-46d3-b2f1-3b3c37036ad1" providerId="ADAL" clId="{FF07999E-EC8D-435C-95D5-B8CD345C58D7}" dt="2023-03-08T02:00:41.966" v="4666" actId="20577"/>
          <ac:spMkLst>
            <pc:docMk/>
            <pc:sldMk cId="229807602" sldId="2147470042"/>
            <ac:spMk id="2" creationId="{7C1440B5-102A-2341-0CD4-C7052D186262}"/>
          </ac:spMkLst>
        </pc:spChg>
        <pc:spChg chg="del">
          <ac:chgData name="Alex Powers" userId="ae4a1fc7-4395-46d3-b2f1-3b3c37036ad1" providerId="ADAL" clId="{FF07999E-EC8D-435C-95D5-B8CD345C58D7}" dt="2023-02-22T14:16:01.516" v="1547" actId="478"/>
          <ac:spMkLst>
            <pc:docMk/>
            <pc:sldMk cId="229807602" sldId="2147470042"/>
            <ac:spMk id="4" creationId="{1798A255-6512-D0FC-2262-92E3FE6D66B0}"/>
          </ac:spMkLst>
        </pc:spChg>
        <pc:spChg chg="mod">
          <ac:chgData name="Alex Powers" userId="ae4a1fc7-4395-46d3-b2f1-3b3c37036ad1" providerId="ADAL" clId="{FF07999E-EC8D-435C-95D5-B8CD345C58D7}" dt="2023-02-22T14:15:53.498" v="1546" actId="20577"/>
          <ac:spMkLst>
            <pc:docMk/>
            <pc:sldMk cId="229807602" sldId="2147470042"/>
            <ac:spMk id="5" creationId="{F1A1FFD5-C456-44EB-A603-F704C281AD6C}"/>
          </ac:spMkLst>
        </pc:spChg>
        <pc:spChg chg="del">
          <ac:chgData name="Alex Powers" userId="ae4a1fc7-4395-46d3-b2f1-3b3c37036ad1" providerId="ADAL" clId="{FF07999E-EC8D-435C-95D5-B8CD345C58D7}" dt="2023-02-22T14:16:03.231" v="1548" actId="478"/>
          <ac:spMkLst>
            <pc:docMk/>
            <pc:sldMk cId="229807602" sldId="2147470042"/>
            <ac:spMk id="7" creationId="{4C3AEDD1-7AF0-4617-B9A5-3CB333EA9FC7}"/>
          </ac:spMkLst>
        </pc:spChg>
      </pc:sldChg>
      <pc:sldChg chg="addSp delSp modSp add mod">
        <pc:chgData name="Alex Powers" userId="ae4a1fc7-4395-46d3-b2f1-3b3c37036ad1" providerId="ADAL" clId="{FF07999E-EC8D-435C-95D5-B8CD345C58D7}" dt="2023-02-22T14:17:05.742" v="1562"/>
        <pc:sldMkLst>
          <pc:docMk/>
          <pc:sldMk cId="1765774517" sldId="2147470043"/>
        </pc:sldMkLst>
        <pc:spChg chg="del">
          <ac:chgData name="Alex Powers" userId="ae4a1fc7-4395-46d3-b2f1-3b3c37036ad1" providerId="ADAL" clId="{FF07999E-EC8D-435C-95D5-B8CD345C58D7}" dt="2023-02-22T14:16:52.706" v="1561" actId="478"/>
          <ac:spMkLst>
            <pc:docMk/>
            <pc:sldMk cId="1765774517" sldId="2147470043"/>
            <ac:spMk id="2" creationId="{7C1440B5-102A-2341-0CD4-C7052D186262}"/>
          </ac:spMkLst>
        </pc:spChg>
        <pc:spChg chg="mod">
          <ac:chgData name="Alex Powers" userId="ae4a1fc7-4395-46d3-b2f1-3b3c37036ad1" providerId="ADAL" clId="{FF07999E-EC8D-435C-95D5-B8CD345C58D7}" dt="2023-02-22T14:16:48.795" v="1560" actId="20577"/>
          <ac:spMkLst>
            <pc:docMk/>
            <pc:sldMk cId="1765774517" sldId="2147470043"/>
            <ac:spMk id="5" creationId="{F1A1FFD5-C456-44EB-A603-F704C281AD6C}"/>
          </ac:spMkLst>
        </pc:spChg>
        <pc:spChg chg="add mod">
          <ac:chgData name="Alex Powers" userId="ae4a1fc7-4395-46d3-b2f1-3b3c37036ad1" providerId="ADAL" clId="{FF07999E-EC8D-435C-95D5-B8CD345C58D7}" dt="2023-02-22T14:17:05.742" v="1562"/>
          <ac:spMkLst>
            <pc:docMk/>
            <pc:sldMk cId="1765774517" sldId="2147470043"/>
            <ac:spMk id="6" creationId="{A2F44B1A-37A7-56DE-6C71-0EA6D0948895}"/>
          </ac:spMkLst>
        </pc:spChg>
        <pc:picChg chg="add mod">
          <ac:chgData name="Alex Powers" userId="ae4a1fc7-4395-46d3-b2f1-3b3c37036ad1" providerId="ADAL" clId="{FF07999E-EC8D-435C-95D5-B8CD345C58D7}" dt="2023-02-22T14:17:05.742" v="1562"/>
          <ac:picMkLst>
            <pc:docMk/>
            <pc:sldMk cId="1765774517" sldId="2147470043"/>
            <ac:picMk id="4" creationId="{EF5B23A0-2CB8-C002-5CC8-B681BD8D0BE7}"/>
          </ac:picMkLst>
        </pc:picChg>
      </pc:sldChg>
      <pc:sldChg chg="add del">
        <pc:chgData name="Alex Powers" userId="ae4a1fc7-4395-46d3-b2f1-3b3c37036ad1" providerId="ADAL" clId="{FF07999E-EC8D-435C-95D5-B8CD345C58D7}" dt="2023-02-22T14:18:41.718" v="1587" actId="47"/>
        <pc:sldMkLst>
          <pc:docMk/>
          <pc:sldMk cId="1269604912" sldId="2147470044"/>
        </pc:sldMkLst>
      </pc:sldChg>
      <pc:sldChg chg="addSp delSp modSp add mod">
        <pc:chgData name="Alex Powers" userId="ae4a1fc7-4395-46d3-b2f1-3b3c37036ad1" providerId="ADAL" clId="{FF07999E-EC8D-435C-95D5-B8CD345C58D7}" dt="2023-02-22T14:18:38.850" v="1586"/>
        <pc:sldMkLst>
          <pc:docMk/>
          <pc:sldMk cId="2909263155" sldId="2147470045"/>
        </pc:sldMkLst>
        <pc:spChg chg="del">
          <ac:chgData name="Alex Powers" userId="ae4a1fc7-4395-46d3-b2f1-3b3c37036ad1" providerId="ADAL" clId="{FF07999E-EC8D-435C-95D5-B8CD345C58D7}" dt="2023-02-22T14:18:35.152" v="1585" actId="478"/>
          <ac:spMkLst>
            <pc:docMk/>
            <pc:sldMk cId="2909263155" sldId="2147470045"/>
            <ac:spMk id="2" creationId="{7C1440B5-102A-2341-0CD4-C7052D186262}"/>
          </ac:spMkLst>
        </pc:spChg>
        <pc:spChg chg="add mod">
          <ac:chgData name="Alex Powers" userId="ae4a1fc7-4395-46d3-b2f1-3b3c37036ad1" providerId="ADAL" clId="{FF07999E-EC8D-435C-95D5-B8CD345C58D7}" dt="2023-02-22T14:18:38.850" v="1586"/>
          <ac:spMkLst>
            <pc:docMk/>
            <pc:sldMk cId="2909263155" sldId="2147470045"/>
            <ac:spMk id="4" creationId="{836EB69B-7794-7F04-09D0-935915D0F407}"/>
          </ac:spMkLst>
        </pc:spChg>
        <pc:spChg chg="mod">
          <ac:chgData name="Alex Powers" userId="ae4a1fc7-4395-46d3-b2f1-3b3c37036ad1" providerId="ADAL" clId="{FF07999E-EC8D-435C-95D5-B8CD345C58D7}" dt="2023-02-22T14:18:31.838" v="1584" actId="20577"/>
          <ac:spMkLst>
            <pc:docMk/>
            <pc:sldMk cId="2909263155" sldId="2147470045"/>
            <ac:spMk id="5" creationId="{F1A1FFD5-C456-44EB-A603-F704C281AD6C}"/>
          </ac:spMkLst>
        </pc:spChg>
      </pc:sldChg>
      <pc:sldChg chg="modSp add del mod">
        <pc:chgData name="Alex Powers" userId="ae4a1fc7-4395-46d3-b2f1-3b3c37036ad1" providerId="ADAL" clId="{FF07999E-EC8D-435C-95D5-B8CD345C58D7}" dt="2023-02-22T14:20:18.447" v="1604" actId="47"/>
        <pc:sldMkLst>
          <pc:docMk/>
          <pc:sldMk cId="1953452325" sldId="2147470046"/>
        </pc:sldMkLst>
        <pc:spChg chg="mod">
          <ac:chgData name="Alex Powers" userId="ae4a1fc7-4395-46d3-b2f1-3b3c37036ad1" providerId="ADAL" clId="{FF07999E-EC8D-435C-95D5-B8CD345C58D7}" dt="2023-02-22T14:19:54.710" v="1602" actId="20577"/>
          <ac:spMkLst>
            <pc:docMk/>
            <pc:sldMk cId="1953452325" sldId="2147470046"/>
            <ac:spMk id="2" creationId="{4BEDC80E-304E-4653-AE93-151A1465E98B}"/>
          </ac:spMkLst>
        </pc:spChg>
      </pc:sldChg>
      <pc:sldChg chg="modSp add mod">
        <pc:chgData name="Alex Powers" userId="ae4a1fc7-4395-46d3-b2f1-3b3c37036ad1" providerId="ADAL" clId="{FF07999E-EC8D-435C-95D5-B8CD345C58D7}" dt="2023-03-08T02:01:03.817" v="4673" actId="20577"/>
        <pc:sldMkLst>
          <pc:docMk/>
          <pc:sldMk cId="3349465913" sldId="2147470047"/>
        </pc:sldMkLst>
        <pc:spChg chg="mod">
          <ac:chgData name="Alex Powers" userId="ae4a1fc7-4395-46d3-b2f1-3b3c37036ad1" providerId="ADAL" clId="{FF07999E-EC8D-435C-95D5-B8CD345C58D7}" dt="2023-03-08T02:01:03.817" v="4673" actId="20577"/>
          <ac:spMkLst>
            <pc:docMk/>
            <pc:sldMk cId="3349465913" sldId="2147470047"/>
            <ac:spMk id="2" creationId="{4BEDC80E-304E-4653-AE93-151A1465E98B}"/>
          </ac:spMkLst>
        </pc:spChg>
      </pc:sldChg>
      <pc:sldChg chg="addSp delSp modSp add mod">
        <pc:chgData name="Alex Powers" userId="ae4a1fc7-4395-46d3-b2f1-3b3c37036ad1" providerId="ADAL" clId="{FF07999E-EC8D-435C-95D5-B8CD345C58D7}" dt="2023-02-22T16:32:13.355" v="2015" actId="113"/>
        <pc:sldMkLst>
          <pc:docMk/>
          <pc:sldMk cId="1449389869" sldId="2147470048"/>
        </pc:sldMkLst>
        <pc:spChg chg="add mod">
          <ac:chgData name="Alex Powers" userId="ae4a1fc7-4395-46d3-b2f1-3b3c37036ad1" providerId="ADAL" clId="{FF07999E-EC8D-435C-95D5-B8CD345C58D7}" dt="2023-02-22T16:32:13.355" v="2015" actId="113"/>
          <ac:spMkLst>
            <pc:docMk/>
            <pc:sldMk cId="1449389869" sldId="2147470048"/>
            <ac:spMk id="2" creationId="{A8FEC8D0-DDE3-150B-5F9F-713A64DFFD4C}"/>
          </ac:spMkLst>
        </pc:spChg>
        <pc:spChg chg="mod">
          <ac:chgData name="Alex Powers" userId="ae4a1fc7-4395-46d3-b2f1-3b3c37036ad1" providerId="ADAL" clId="{FF07999E-EC8D-435C-95D5-B8CD345C58D7}" dt="2023-02-22T16:18:13.843" v="1722" actId="20577"/>
          <ac:spMkLst>
            <pc:docMk/>
            <pc:sldMk cId="1449389869" sldId="2147470048"/>
            <ac:spMk id="5" creationId="{F1A1FFD5-C456-44EB-A603-F704C281AD6C}"/>
          </ac:spMkLst>
        </pc:spChg>
        <pc:spChg chg="del">
          <ac:chgData name="Alex Powers" userId="ae4a1fc7-4395-46d3-b2f1-3b3c37036ad1" providerId="ADAL" clId="{FF07999E-EC8D-435C-95D5-B8CD345C58D7}" dt="2023-02-22T16:18:17.552" v="1723" actId="478"/>
          <ac:spMkLst>
            <pc:docMk/>
            <pc:sldMk cId="1449389869" sldId="2147470048"/>
            <ac:spMk id="6" creationId="{DC082D62-027F-4C5F-927C-774129B7310E}"/>
          </ac:spMkLst>
        </pc:spChg>
        <pc:picChg chg="del">
          <ac:chgData name="Alex Powers" userId="ae4a1fc7-4395-46d3-b2f1-3b3c37036ad1" providerId="ADAL" clId="{FF07999E-EC8D-435C-95D5-B8CD345C58D7}" dt="2023-02-22T16:18:17.552" v="1723" actId="478"/>
          <ac:picMkLst>
            <pc:docMk/>
            <pc:sldMk cId="1449389869" sldId="2147470048"/>
            <ac:picMk id="8" creationId="{512F2D75-AF2E-4101-8FEB-4D706D619077}"/>
          </ac:picMkLst>
        </pc:picChg>
      </pc:sldChg>
      <pc:sldChg chg="modSp add mod">
        <pc:chgData name="Alex Powers" userId="ae4a1fc7-4395-46d3-b2f1-3b3c37036ad1" providerId="ADAL" clId="{FF07999E-EC8D-435C-95D5-B8CD345C58D7}" dt="2023-02-22T16:19:46.039" v="1781" actId="20577"/>
        <pc:sldMkLst>
          <pc:docMk/>
          <pc:sldMk cId="713603935" sldId="2147470049"/>
        </pc:sldMkLst>
        <pc:spChg chg="mod">
          <ac:chgData name="Alex Powers" userId="ae4a1fc7-4395-46d3-b2f1-3b3c37036ad1" providerId="ADAL" clId="{FF07999E-EC8D-435C-95D5-B8CD345C58D7}" dt="2023-02-22T16:19:46.039" v="1781" actId="20577"/>
          <ac:spMkLst>
            <pc:docMk/>
            <pc:sldMk cId="713603935" sldId="2147470049"/>
            <ac:spMk id="5" creationId="{F1A1FFD5-C456-44EB-A603-F704C281AD6C}"/>
          </ac:spMkLst>
        </pc:spChg>
        <pc:spChg chg="mod">
          <ac:chgData name="Alex Powers" userId="ae4a1fc7-4395-46d3-b2f1-3b3c37036ad1" providerId="ADAL" clId="{FF07999E-EC8D-435C-95D5-B8CD345C58D7}" dt="2023-02-22T16:19:35.227" v="1749" actId="20577"/>
          <ac:spMkLst>
            <pc:docMk/>
            <pc:sldMk cId="713603935" sldId="2147470049"/>
            <ac:spMk id="6" creationId="{DC082D62-027F-4C5F-927C-774129B7310E}"/>
          </ac:spMkLst>
        </pc:spChg>
      </pc:sldChg>
      <pc:sldChg chg="add del">
        <pc:chgData name="Alex Powers" userId="ae4a1fc7-4395-46d3-b2f1-3b3c37036ad1" providerId="ADAL" clId="{FF07999E-EC8D-435C-95D5-B8CD345C58D7}" dt="2023-02-22T16:19:30.581" v="1746"/>
        <pc:sldMkLst>
          <pc:docMk/>
          <pc:sldMk cId="3037390504" sldId="2147470049"/>
        </pc:sldMkLst>
      </pc:sldChg>
      <pc:sldChg chg="add del">
        <pc:chgData name="Alex Powers" userId="ae4a1fc7-4395-46d3-b2f1-3b3c37036ad1" providerId="ADAL" clId="{FF07999E-EC8D-435C-95D5-B8CD345C58D7}" dt="2023-02-22T16:20:50.737" v="1814" actId="47"/>
        <pc:sldMkLst>
          <pc:docMk/>
          <pc:sldMk cId="2425579910" sldId="2147470050"/>
        </pc:sldMkLst>
      </pc:sldChg>
      <pc:sldChg chg="add del">
        <pc:chgData name="Alex Powers" userId="ae4a1fc7-4395-46d3-b2f1-3b3c37036ad1" providerId="ADAL" clId="{FF07999E-EC8D-435C-95D5-B8CD345C58D7}" dt="2023-02-22T16:21:14.561" v="1841" actId="47"/>
        <pc:sldMkLst>
          <pc:docMk/>
          <pc:sldMk cId="3282312072" sldId="2147470051"/>
        </pc:sldMkLst>
      </pc:sldChg>
      <pc:sldChg chg="addSp delSp modSp add mod">
        <pc:chgData name="Alex Powers" userId="ae4a1fc7-4395-46d3-b2f1-3b3c37036ad1" providerId="ADAL" clId="{FF07999E-EC8D-435C-95D5-B8CD345C58D7}" dt="2023-02-22T16:20:45.428" v="1813" actId="20577"/>
        <pc:sldMkLst>
          <pc:docMk/>
          <pc:sldMk cId="3723718815" sldId="2147470052"/>
        </pc:sldMkLst>
        <pc:spChg chg="add mod">
          <ac:chgData name="Alex Powers" userId="ae4a1fc7-4395-46d3-b2f1-3b3c37036ad1" providerId="ADAL" clId="{FF07999E-EC8D-435C-95D5-B8CD345C58D7}" dt="2023-02-22T16:20:38.438" v="1812"/>
          <ac:spMkLst>
            <pc:docMk/>
            <pc:sldMk cId="3723718815" sldId="2147470052"/>
            <ac:spMk id="2" creationId="{190C4945-3DD8-3C73-DBC7-E42C097C5295}"/>
          </ac:spMkLst>
        </pc:spChg>
        <pc:spChg chg="mod">
          <ac:chgData name="Alex Powers" userId="ae4a1fc7-4395-46d3-b2f1-3b3c37036ad1" providerId="ADAL" clId="{FF07999E-EC8D-435C-95D5-B8CD345C58D7}" dt="2023-02-22T16:20:45.428" v="1813" actId="20577"/>
          <ac:spMkLst>
            <pc:docMk/>
            <pc:sldMk cId="3723718815" sldId="2147470052"/>
            <ac:spMk id="5" creationId="{F1A1FFD5-C456-44EB-A603-F704C281AD6C}"/>
          </ac:spMkLst>
        </pc:spChg>
        <pc:spChg chg="del">
          <ac:chgData name="Alex Powers" userId="ae4a1fc7-4395-46d3-b2f1-3b3c37036ad1" providerId="ADAL" clId="{FF07999E-EC8D-435C-95D5-B8CD345C58D7}" dt="2023-02-22T16:20:35.541" v="1811" actId="478"/>
          <ac:spMkLst>
            <pc:docMk/>
            <pc:sldMk cId="3723718815" sldId="2147470052"/>
            <ac:spMk id="6" creationId="{A2F44B1A-37A7-56DE-6C71-0EA6D0948895}"/>
          </ac:spMkLst>
        </pc:spChg>
        <pc:picChg chg="del">
          <ac:chgData name="Alex Powers" userId="ae4a1fc7-4395-46d3-b2f1-3b3c37036ad1" providerId="ADAL" clId="{FF07999E-EC8D-435C-95D5-B8CD345C58D7}" dt="2023-02-22T16:20:34.230" v="1810" actId="478"/>
          <ac:picMkLst>
            <pc:docMk/>
            <pc:sldMk cId="3723718815" sldId="2147470052"/>
            <ac:picMk id="4" creationId="{EF5B23A0-2CB8-C002-5CC8-B681BD8D0BE7}"/>
          </ac:picMkLst>
        </pc:picChg>
      </pc:sldChg>
      <pc:sldChg chg="addSp delSp modSp add mod">
        <pc:chgData name="Alex Powers" userId="ae4a1fc7-4395-46d3-b2f1-3b3c37036ad1" providerId="ADAL" clId="{FF07999E-EC8D-435C-95D5-B8CD345C58D7}" dt="2023-02-22T16:21:22.819" v="1846" actId="20577"/>
        <pc:sldMkLst>
          <pc:docMk/>
          <pc:sldMk cId="18369262" sldId="2147470053"/>
        </pc:sldMkLst>
        <pc:spChg chg="del">
          <ac:chgData name="Alex Powers" userId="ae4a1fc7-4395-46d3-b2f1-3b3c37036ad1" providerId="ADAL" clId="{FF07999E-EC8D-435C-95D5-B8CD345C58D7}" dt="2023-02-22T16:21:06.644" v="1837" actId="478"/>
          <ac:spMkLst>
            <pc:docMk/>
            <pc:sldMk cId="18369262" sldId="2147470053"/>
            <ac:spMk id="2" creationId="{190C4945-3DD8-3C73-DBC7-E42C097C5295}"/>
          </ac:spMkLst>
        </pc:spChg>
        <pc:spChg chg="mod">
          <ac:chgData name="Alex Powers" userId="ae4a1fc7-4395-46d3-b2f1-3b3c37036ad1" providerId="ADAL" clId="{FF07999E-EC8D-435C-95D5-B8CD345C58D7}" dt="2023-02-22T16:20:59.491" v="1836" actId="20577"/>
          <ac:spMkLst>
            <pc:docMk/>
            <pc:sldMk cId="18369262" sldId="2147470053"/>
            <ac:spMk id="5" creationId="{F1A1FFD5-C456-44EB-A603-F704C281AD6C}"/>
          </ac:spMkLst>
        </pc:spChg>
        <pc:spChg chg="add del">
          <ac:chgData name="Alex Powers" userId="ae4a1fc7-4395-46d3-b2f1-3b3c37036ad1" providerId="ADAL" clId="{FF07999E-EC8D-435C-95D5-B8CD345C58D7}" dt="2023-02-22T16:21:09.275" v="1839" actId="22"/>
          <ac:spMkLst>
            <pc:docMk/>
            <pc:sldMk cId="18369262" sldId="2147470053"/>
            <ac:spMk id="6" creationId="{D89ADA9B-A19B-F85B-6C2E-C71B376A2156}"/>
          </ac:spMkLst>
        </pc:spChg>
        <pc:spChg chg="add mod">
          <ac:chgData name="Alex Powers" userId="ae4a1fc7-4395-46d3-b2f1-3b3c37036ad1" providerId="ADAL" clId="{FF07999E-EC8D-435C-95D5-B8CD345C58D7}" dt="2023-02-22T16:21:22.819" v="1846" actId="20577"/>
          <ac:spMkLst>
            <pc:docMk/>
            <pc:sldMk cId="18369262" sldId="2147470053"/>
            <ac:spMk id="7" creationId="{178C877C-F79F-5F8E-D401-7CA47E7DF657}"/>
          </ac:spMkLst>
        </pc:spChg>
      </pc:sldChg>
      <pc:sldChg chg="add del">
        <pc:chgData name="Alex Powers" userId="ae4a1fc7-4395-46d3-b2f1-3b3c37036ad1" providerId="ADAL" clId="{FF07999E-EC8D-435C-95D5-B8CD345C58D7}" dt="2023-02-22T16:23:16.111" v="1865" actId="47"/>
        <pc:sldMkLst>
          <pc:docMk/>
          <pc:sldMk cId="1421171335" sldId="2147470054"/>
        </pc:sldMkLst>
      </pc:sldChg>
      <pc:sldChg chg="addSp delSp modSp add mod modAnim">
        <pc:chgData name="Alex Powers" userId="ae4a1fc7-4395-46d3-b2f1-3b3c37036ad1" providerId="ADAL" clId="{FF07999E-EC8D-435C-95D5-B8CD345C58D7}" dt="2023-02-22T16:24:48.391" v="1878" actId="1036"/>
        <pc:sldMkLst>
          <pc:docMk/>
          <pc:sldMk cId="4188369865" sldId="2147470055"/>
        </pc:sldMkLst>
        <pc:spChg chg="del mod">
          <ac:chgData name="Alex Powers" userId="ae4a1fc7-4395-46d3-b2f1-3b3c37036ad1" providerId="ADAL" clId="{FF07999E-EC8D-435C-95D5-B8CD345C58D7}" dt="2023-02-22T16:23:11.121" v="1863" actId="478"/>
          <ac:spMkLst>
            <pc:docMk/>
            <pc:sldMk cId="4188369865" sldId="2147470055"/>
            <ac:spMk id="2" creationId="{7C1440B5-102A-2341-0CD4-C7052D186262}"/>
          </ac:spMkLst>
        </pc:spChg>
        <pc:spChg chg="add mod">
          <ac:chgData name="Alex Powers" userId="ae4a1fc7-4395-46d3-b2f1-3b3c37036ad1" providerId="ADAL" clId="{FF07999E-EC8D-435C-95D5-B8CD345C58D7}" dt="2023-02-22T16:23:14.064" v="1864"/>
          <ac:spMkLst>
            <pc:docMk/>
            <pc:sldMk cId="4188369865" sldId="2147470055"/>
            <ac:spMk id="4" creationId="{8EECFA92-CF8D-A089-715D-75DD10DC6A37}"/>
          </ac:spMkLst>
        </pc:spChg>
        <pc:spChg chg="mod">
          <ac:chgData name="Alex Powers" userId="ae4a1fc7-4395-46d3-b2f1-3b3c37036ad1" providerId="ADAL" clId="{FF07999E-EC8D-435C-95D5-B8CD345C58D7}" dt="2023-02-22T16:22:01.459" v="1861" actId="20577"/>
          <ac:spMkLst>
            <pc:docMk/>
            <pc:sldMk cId="4188369865" sldId="2147470055"/>
            <ac:spMk id="5" creationId="{F1A1FFD5-C456-44EB-A603-F704C281AD6C}"/>
          </ac:spMkLst>
        </pc:spChg>
        <pc:picChg chg="add mod">
          <ac:chgData name="Alex Powers" userId="ae4a1fc7-4395-46d3-b2f1-3b3c37036ad1" providerId="ADAL" clId="{FF07999E-EC8D-435C-95D5-B8CD345C58D7}" dt="2023-02-22T16:24:48.391" v="1878" actId="1036"/>
          <ac:picMkLst>
            <pc:docMk/>
            <pc:sldMk cId="4188369865" sldId="2147470055"/>
            <ac:picMk id="6" creationId="{CD411D05-CE00-E455-98F0-66AA9D06365D}"/>
          </ac:picMkLst>
        </pc:picChg>
      </pc:sldChg>
      <pc:sldChg chg="add del">
        <pc:chgData name="Alex Powers" userId="ae4a1fc7-4395-46d3-b2f1-3b3c37036ad1" providerId="ADAL" clId="{FF07999E-EC8D-435C-95D5-B8CD345C58D7}" dt="2023-02-22T16:26:23.008" v="1911" actId="47"/>
        <pc:sldMkLst>
          <pc:docMk/>
          <pc:sldMk cId="1320643142" sldId="2147470056"/>
        </pc:sldMkLst>
      </pc:sldChg>
      <pc:sldChg chg="addSp delSp modSp add mod">
        <pc:chgData name="Alex Powers" userId="ae4a1fc7-4395-46d3-b2f1-3b3c37036ad1" providerId="ADAL" clId="{FF07999E-EC8D-435C-95D5-B8CD345C58D7}" dt="2023-02-22T16:26:17.036" v="1910" actId="15"/>
        <pc:sldMkLst>
          <pc:docMk/>
          <pc:sldMk cId="2215071468" sldId="2147470057"/>
        </pc:sldMkLst>
        <pc:spChg chg="add mod">
          <ac:chgData name="Alex Powers" userId="ae4a1fc7-4395-46d3-b2f1-3b3c37036ad1" providerId="ADAL" clId="{FF07999E-EC8D-435C-95D5-B8CD345C58D7}" dt="2023-02-22T16:26:17.036" v="1910" actId="15"/>
          <ac:spMkLst>
            <pc:docMk/>
            <pc:sldMk cId="2215071468" sldId="2147470057"/>
            <ac:spMk id="2" creationId="{0AF5C69C-4F07-7439-ED0F-F5C314512EEE}"/>
          </ac:spMkLst>
        </pc:spChg>
        <pc:spChg chg="mod">
          <ac:chgData name="Alex Powers" userId="ae4a1fc7-4395-46d3-b2f1-3b3c37036ad1" providerId="ADAL" clId="{FF07999E-EC8D-435C-95D5-B8CD345C58D7}" dt="2023-02-22T16:25:57.296" v="1900" actId="20577"/>
          <ac:spMkLst>
            <pc:docMk/>
            <pc:sldMk cId="2215071468" sldId="2147470057"/>
            <ac:spMk id="5" creationId="{F1A1FFD5-C456-44EB-A603-F704C281AD6C}"/>
          </ac:spMkLst>
        </pc:spChg>
        <pc:spChg chg="del">
          <ac:chgData name="Alex Powers" userId="ae4a1fc7-4395-46d3-b2f1-3b3c37036ad1" providerId="ADAL" clId="{FF07999E-EC8D-435C-95D5-B8CD345C58D7}" dt="2023-02-22T16:26:00.511" v="1901" actId="478"/>
          <ac:spMkLst>
            <pc:docMk/>
            <pc:sldMk cId="2215071468" sldId="2147470057"/>
            <ac:spMk id="7" creationId="{178C877C-F79F-5F8E-D401-7CA47E7DF657}"/>
          </ac:spMkLst>
        </pc:spChg>
      </pc:sldChg>
      <pc:sldChg chg="add del">
        <pc:chgData name="Alex Powers" userId="ae4a1fc7-4395-46d3-b2f1-3b3c37036ad1" providerId="ADAL" clId="{FF07999E-EC8D-435C-95D5-B8CD345C58D7}" dt="2023-02-22T16:32:08.346" v="2013" actId="47"/>
        <pc:sldMkLst>
          <pc:docMk/>
          <pc:sldMk cId="400541564" sldId="2147470058"/>
        </pc:sldMkLst>
      </pc:sldChg>
      <pc:sldChg chg="addSp delSp modSp add mod">
        <pc:chgData name="Alex Powers" userId="ae4a1fc7-4395-46d3-b2f1-3b3c37036ad1" providerId="ADAL" clId="{FF07999E-EC8D-435C-95D5-B8CD345C58D7}" dt="2023-03-08T01:59:18.481" v="4648" actId="20577"/>
        <pc:sldMkLst>
          <pc:docMk/>
          <pc:sldMk cId="1301839477" sldId="2147470059"/>
        </pc:sldMkLst>
        <pc:spChg chg="del">
          <ac:chgData name="Alex Powers" userId="ae4a1fc7-4395-46d3-b2f1-3b3c37036ad1" providerId="ADAL" clId="{FF07999E-EC8D-435C-95D5-B8CD345C58D7}" dt="2023-02-22T16:30:24.583" v="1938" actId="478"/>
          <ac:spMkLst>
            <pc:docMk/>
            <pc:sldMk cId="1301839477" sldId="2147470059"/>
            <ac:spMk id="2" creationId="{A8FEC8D0-DDE3-150B-5F9F-713A64DFFD4C}"/>
          </ac:spMkLst>
        </pc:spChg>
        <pc:spChg chg="add mod">
          <ac:chgData name="Alex Powers" userId="ae4a1fc7-4395-46d3-b2f1-3b3c37036ad1" providerId="ADAL" clId="{FF07999E-EC8D-435C-95D5-B8CD345C58D7}" dt="2023-03-08T01:59:18.481" v="4648" actId="20577"/>
          <ac:spMkLst>
            <pc:docMk/>
            <pc:sldMk cId="1301839477" sldId="2147470059"/>
            <ac:spMk id="4" creationId="{88EE4C34-F967-7F63-54BB-7A208E0344B3}"/>
          </ac:spMkLst>
        </pc:spChg>
        <pc:spChg chg="mod">
          <ac:chgData name="Alex Powers" userId="ae4a1fc7-4395-46d3-b2f1-3b3c37036ad1" providerId="ADAL" clId="{FF07999E-EC8D-435C-95D5-B8CD345C58D7}" dt="2023-02-22T16:31:52.136" v="2010" actId="20577"/>
          <ac:spMkLst>
            <pc:docMk/>
            <pc:sldMk cId="1301839477" sldId="2147470059"/>
            <ac:spMk id="5" creationId="{F1A1FFD5-C456-44EB-A603-F704C281AD6C}"/>
          </ac:spMkLst>
        </pc:spChg>
        <pc:picChg chg="add mod">
          <ac:chgData name="Alex Powers" userId="ae4a1fc7-4395-46d3-b2f1-3b3c37036ad1" providerId="ADAL" clId="{FF07999E-EC8D-435C-95D5-B8CD345C58D7}" dt="2023-02-22T16:30:43.647" v="1943" actId="1076"/>
          <ac:picMkLst>
            <pc:docMk/>
            <pc:sldMk cId="1301839477" sldId="2147470059"/>
            <ac:picMk id="6" creationId="{77761A04-9BF5-06B2-05C2-840346C315E7}"/>
          </ac:picMkLst>
        </pc:picChg>
      </pc:sldChg>
      <pc:sldChg chg="add">
        <pc:chgData name="Alex Powers" userId="ae4a1fc7-4395-46d3-b2f1-3b3c37036ad1" providerId="ADAL" clId="{FF07999E-EC8D-435C-95D5-B8CD345C58D7}" dt="2023-02-22T16:32:48.665" v="2016"/>
        <pc:sldMkLst>
          <pc:docMk/>
          <pc:sldMk cId="1094387869" sldId="2147470060"/>
        </pc:sldMkLst>
      </pc:sldChg>
      <pc:sldChg chg="add del">
        <pc:chgData name="Alex Powers" userId="ae4a1fc7-4395-46d3-b2f1-3b3c37036ad1" providerId="ADAL" clId="{FF07999E-EC8D-435C-95D5-B8CD345C58D7}" dt="2023-02-22T16:54:36.131" v="2031" actId="47"/>
        <pc:sldMkLst>
          <pc:docMk/>
          <pc:sldMk cId="3144415480" sldId="2147470061"/>
        </pc:sldMkLst>
      </pc:sldChg>
      <pc:sldChg chg="addSp delSp modSp add mod ord">
        <pc:chgData name="Alex Powers" userId="ae4a1fc7-4395-46d3-b2f1-3b3c37036ad1" providerId="ADAL" clId="{FF07999E-EC8D-435C-95D5-B8CD345C58D7}" dt="2023-03-08T01:59:38.583" v="4650"/>
        <pc:sldMkLst>
          <pc:docMk/>
          <pc:sldMk cId="2009408845" sldId="2147470062"/>
        </pc:sldMkLst>
        <pc:spChg chg="add mod">
          <ac:chgData name="Alex Powers" userId="ae4a1fc7-4395-46d3-b2f1-3b3c37036ad1" providerId="ADAL" clId="{FF07999E-EC8D-435C-95D5-B8CD345C58D7}" dt="2023-02-22T17:15:58.326" v="2034" actId="14100"/>
          <ac:spMkLst>
            <pc:docMk/>
            <pc:sldMk cId="2009408845" sldId="2147470062"/>
            <ac:spMk id="2" creationId="{973E70A4-87F5-41F9-829A-C4FD21CB3ED8}"/>
          </ac:spMkLst>
        </pc:spChg>
        <pc:spChg chg="del">
          <ac:chgData name="Alex Powers" userId="ae4a1fc7-4395-46d3-b2f1-3b3c37036ad1" providerId="ADAL" clId="{FF07999E-EC8D-435C-95D5-B8CD345C58D7}" dt="2023-02-22T16:54:29.338" v="2029" actId="478"/>
          <ac:spMkLst>
            <pc:docMk/>
            <pc:sldMk cId="2009408845" sldId="2147470062"/>
            <ac:spMk id="4" creationId="{88EE4C34-F967-7F63-54BB-7A208E0344B3}"/>
          </ac:spMkLst>
        </pc:spChg>
        <pc:spChg chg="mod">
          <ac:chgData name="Alex Powers" userId="ae4a1fc7-4395-46d3-b2f1-3b3c37036ad1" providerId="ADAL" clId="{FF07999E-EC8D-435C-95D5-B8CD345C58D7}" dt="2023-02-22T16:54:26.890" v="2027" actId="20577"/>
          <ac:spMkLst>
            <pc:docMk/>
            <pc:sldMk cId="2009408845" sldId="2147470062"/>
            <ac:spMk id="5" creationId="{F1A1FFD5-C456-44EB-A603-F704C281AD6C}"/>
          </ac:spMkLst>
        </pc:spChg>
        <pc:picChg chg="del">
          <ac:chgData name="Alex Powers" userId="ae4a1fc7-4395-46d3-b2f1-3b3c37036ad1" providerId="ADAL" clId="{FF07999E-EC8D-435C-95D5-B8CD345C58D7}" dt="2023-02-22T16:54:27.981" v="2028" actId="478"/>
          <ac:picMkLst>
            <pc:docMk/>
            <pc:sldMk cId="2009408845" sldId="2147470062"/>
            <ac:picMk id="6" creationId="{77761A04-9BF5-06B2-05C2-840346C315E7}"/>
          </ac:picMkLst>
        </pc:picChg>
      </pc:sldChg>
      <pc:sldChg chg="addSp delSp modSp add mod modAnim">
        <pc:chgData name="Alex Powers" userId="ae4a1fc7-4395-46d3-b2f1-3b3c37036ad1" providerId="ADAL" clId="{FF07999E-EC8D-435C-95D5-B8CD345C58D7}" dt="2023-03-03T13:38:19.041" v="3537" actId="20577"/>
        <pc:sldMkLst>
          <pc:docMk/>
          <pc:sldMk cId="400474336" sldId="2147470063"/>
        </pc:sldMkLst>
        <pc:spChg chg="mod">
          <ac:chgData name="Alex Powers" userId="ae4a1fc7-4395-46d3-b2f1-3b3c37036ad1" providerId="ADAL" clId="{FF07999E-EC8D-435C-95D5-B8CD345C58D7}" dt="2023-03-03T13:38:19.041" v="3537" actId="20577"/>
          <ac:spMkLst>
            <pc:docMk/>
            <pc:sldMk cId="400474336" sldId="2147470063"/>
            <ac:spMk id="2" creationId="{2A1FB337-CDF0-458C-864B-CA1289A60A44}"/>
          </ac:spMkLst>
        </pc:spChg>
        <pc:spChg chg="del mod topLvl">
          <ac:chgData name="Alex Powers" userId="ae4a1fc7-4395-46d3-b2f1-3b3c37036ad1" providerId="ADAL" clId="{FF07999E-EC8D-435C-95D5-B8CD345C58D7}" dt="2023-03-03T13:27:10.582" v="3273" actId="478"/>
          <ac:spMkLst>
            <pc:docMk/>
            <pc:sldMk cId="400474336" sldId="2147470063"/>
            <ac:spMk id="6" creationId="{77AED221-E2D4-87CA-3337-0E870F33FA44}"/>
          </ac:spMkLst>
        </pc:spChg>
        <pc:spChg chg="del mod topLvl">
          <ac:chgData name="Alex Powers" userId="ae4a1fc7-4395-46d3-b2f1-3b3c37036ad1" providerId="ADAL" clId="{FF07999E-EC8D-435C-95D5-B8CD345C58D7}" dt="2023-03-03T13:27:19.714" v="3276" actId="478"/>
          <ac:spMkLst>
            <pc:docMk/>
            <pc:sldMk cId="400474336" sldId="2147470063"/>
            <ac:spMk id="10" creationId="{03F0F631-9B4D-3F6E-CC92-A199B68EE027}"/>
          </ac:spMkLst>
        </pc:spChg>
        <pc:spChg chg="mod">
          <ac:chgData name="Alex Powers" userId="ae4a1fc7-4395-46d3-b2f1-3b3c37036ad1" providerId="ADAL" clId="{FF07999E-EC8D-435C-95D5-B8CD345C58D7}" dt="2023-03-03T13:12:27.944" v="2888" actId="20577"/>
          <ac:spMkLst>
            <pc:docMk/>
            <pc:sldMk cId="400474336" sldId="2147470063"/>
            <ac:spMk id="15" creationId="{86A6193E-2B4C-463B-85D2-5F86D7866537}"/>
          </ac:spMkLst>
        </pc:spChg>
        <pc:grpChg chg="add del mod">
          <ac:chgData name="Alex Powers" userId="ae4a1fc7-4395-46d3-b2f1-3b3c37036ad1" providerId="ADAL" clId="{FF07999E-EC8D-435C-95D5-B8CD345C58D7}" dt="2023-03-03T13:27:10.582" v="3273" actId="478"/>
          <ac:grpSpMkLst>
            <pc:docMk/>
            <pc:sldMk cId="400474336" sldId="2147470063"/>
            <ac:grpSpMk id="3" creationId="{31489E65-5890-B199-61B3-BD9A7D506A20}"/>
          </ac:grpSpMkLst>
        </pc:grpChg>
        <pc:grpChg chg="del mod topLvl">
          <ac:chgData name="Alex Powers" userId="ae4a1fc7-4395-46d3-b2f1-3b3c37036ad1" providerId="ADAL" clId="{FF07999E-EC8D-435C-95D5-B8CD345C58D7}" dt="2023-03-03T13:27:17.190" v="3275" actId="165"/>
          <ac:grpSpMkLst>
            <pc:docMk/>
            <pc:sldMk cId="400474336" sldId="2147470063"/>
            <ac:grpSpMk id="4" creationId="{229D1931-2B2D-3140-EB4C-8192DA388934}"/>
          </ac:grpSpMkLst>
        </pc:grpChg>
        <pc:graphicFrameChg chg="del">
          <ac:chgData name="Alex Powers" userId="ae4a1fc7-4395-46d3-b2f1-3b3c37036ad1" providerId="ADAL" clId="{FF07999E-EC8D-435C-95D5-B8CD345C58D7}" dt="2023-03-03T13:12:56.759" v="2891" actId="478"/>
          <ac:graphicFrameMkLst>
            <pc:docMk/>
            <pc:sldMk cId="400474336" sldId="2147470063"/>
            <ac:graphicFrameMk id="5" creationId="{5DE13ECA-AD23-4A63-BFA8-9511E1994C63}"/>
          </ac:graphicFrameMkLst>
        </pc:graphicFrameChg>
        <pc:picChg chg="mod topLvl">
          <ac:chgData name="Alex Powers" userId="ae4a1fc7-4395-46d3-b2f1-3b3c37036ad1" providerId="ADAL" clId="{FF07999E-EC8D-435C-95D5-B8CD345C58D7}" dt="2023-03-03T13:29:30.607" v="3348" actId="1076"/>
          <ac:picMkLst>
            <pc:docMk/>
            <pc:sldMk cId="400474336" sldId="2147470063"/>
            <ac:picMk id="7" creationId="{66CE50B9-0EB0-A611-6485-84B4B996A74E}"/>
          </ac:picMkLst>
        </pc:picChg>
        <pc:picChg chg="del mod topLvl">
          <ac:chgData name="Alex Powers" userId="ae4a1fc7-4395-46d3-b2f1-3b3c37036ad1" providerId="ADAL" clId="{FF07999E-EC8D-435C-95D5-B8CD345C58D7}" dt="2023-03-03T13:27:19.714" v="3276" actId="478"/>
          <ac:picMkLst>
            <pc:docMk/>
            <pc:sldMk cId="400474336" sldId="2147470063"/>
            <ac:picMk id="8" creationId="{A9ED6A5C-FAE2-6CF1-E9C5-0C3A44476C04}"/>
          </ac:picMkLst>
        </pc:picChg>
        <pc:picChg chg="del mod topLvl">
          <ac:chgData name="Alex Powers" userId="ae4a1fc7-4395-46d3-b2f1-3b3c37036ad1" providerId="ADAL" clId="{FF07999E-EC8D-435C-95D5-B8CD345C58D7}" dt="2023-03-03T13:27:19.714" v="3276" actId="478"/>
          <ac:picMkLst>
            <pc:docMk/>
            <pc:sldMk cId="400474336" sldId="2147470063"/>
            <ac:picMk id="9" creationId="{AB3A5BA2-5D38-503D-5130-A4FB7796AA9F}"/>
          </ac:picMkLst>
        </pc:picChg>
      </pc:sldChg>
      <pc:sldChg chg="addSp delSp modSp add del mod">
        <pc:chgData name="Alex Powers" userId="ae4a1fc7-4395-46d3-b2f1-3b3c37036ad1" providerId="ADAL" clId="{FF07999E-EC8D-435C-95D5-B8CD345C58D7}" dt="2023-03-03T16:46:00.483" v="3544" actId="47"/>
        <pc:sldMkLst>
          <pc:docMk/>
          <pc:sldMk cId="295468395" sldId="2147470064"/>
        </pc:sldMkLst>
        <pc:spChg chg="del">
          <ac:chgData name="Alex Powers" userId="ae4a1fc7-4395-46d3-b2f1-3b3c37036ad1" providerId="ADAL" clId="{FF07999E-EC8D-435C-95D5-B8CD345C58D7}" dt="2023-03-03T13:35:59.651" v="3421" actId="478"/>
          <ac:spMkLst>
            <pc:docMk/>
            <pc:sldMk cId="295468395" sldId="2147470064"/>
            <ac:spMk id="2" creationId="{2A1FB337-CDF0-458C-864B-CA1289A60A44}"/>
          </ac:spMkLst>
        </pc:spChg>
        <pc:spChg chg="add del mod">
          <ac:chgData name="Alex Powers" userId="ae4a1fc7-4395-46d3-b2f1-3b3c37036ad1" providerId="ADAL" clId="{FF07999E-EC8D-435C-95D5-B8CD345C58D7}" dt="2023-03-03T13:36:03.011" v="3423" actId="478"/>
          <ac:spMkLst>
            <pc:docMk/>
            <pc:sldMk cId="295468395" sldId="2147470064"/>
            <ac:spMk id="4" creationId="{4BC67DC6-AC52-6D09-B67C-EC9EF10E3A8D}"/>
          </ac:spMkLst>
        </pc:spChg>
        <pc:spChg chg="mod">
          <ac:chgData name="Alex Powers" userId="ae4a1fc7-4395-46d3-b2f1-3b3c37036ad1" providerId="ADAL" clId="{FF07999E-EC8D-435C-95D5-B8CD345C58D7}" dt="2023-03-03T16:45:47.950" v="3540" actId="6549"/>
          <ac:spMkLst>
            <pc:docMk/>
            <pc:sldMk cId="295468395" sldId="2147470064"/>
            <ac:spMk id="15" creationId="{86A6193E-2B4C-463B-85D2-5F86D7866537}"/>
          </ac:spMkLst>
        </pc:spChg>
        <pc:picChg chg="del">
          <ac:chgData name="Alex Powers" userId="ae4a1fc7-4395-46d3-b2f1-3b3c37036ad1" providerId="ADAL" clId="{FF07999E-EC8D-435C-95D5-B8CD345C58D7}" dt="2023-03-03T13:36:01.823" v="3422" actId="478"/>
          <ac:picMkLst>
            <pc:docMk/>
            <pc:sldMk cId="295468395" sldId="2147470064"/>
            <ac:picMk id="7" creationId="{66CE50B9-0EB0-A611-6485-84B4B996A74E}"/>
          </ac:picMkLst>
        </pc:picChg>
      </pc:sldChg>
      <pc:sldChg chg="addSp delSp modSp add mod ord delAnim">
        <pc:chgData name="Alex Powers" userId="ae4a1fc7-4395-46d3-b2f1-3b3c37036ad1" providerId="ADAL" clId="{FF07999E-EC8D-435C-95D5-B8CD345C58D7}" dt="2023-03-03T17:24:29.823" v="4568" actId="1035"/>
        <pc:sldMkLst>
          <pc:docMk/>
          <pc:sldMk cId="1290944113" sldId="2147470065"/>
        </pc:sldMkLst>
        <pc:spChg chg="mod">
          <ac:chgData name="Alex Powers" userId="ae4a1fc7-4395-46d3-b2f1-3b3c37036ad1" providerId="ADAL" clId="{FF07999E-EC8D-435C-95D5-B8CD345C58D7}" dt="2023-03-03T16:46:06.764" v="3559" actId="20577"/>
          <ac:spMkLst>
            <pc:docMk/>
            <pc:sldMk cId="1290944113" sldId="2147470065"/>
            <ac:spMk id="3" creationId="{0D69A8A3-2B39-48E2-94C2-0F25489C12ED}"/>
          </ac:spMkLst>
        </pc:spChg>
        <pc:spChg chg="mod">
          <ac:chgData name="Alex Powers" userId="ae4a1fc7-4395-46d3-b2f1-3b3c37036ad1" providerId="ADAL" clId="{FF07999E-EC8D-435C-95D5-B8CD345C58D7}" dt="2023-03-03T16:54:35.062" v="4027" actId="20577"/>
          <ac:spMkLst>
            <pc:docMk/>
            <pc:sldMk cId="1290944113" sldId="2147470065"/>
            <ac:spMk id="4" creationId="{D4917F3F-DCCF-4C8F-B2BF-8DFC2DD1037A}"/>
          </ac:spMkLst>
        </pc:spChg>
        <pc:spChg chg="mod">
          <ac:chgData name="Alex Powers" userId="ae4a1fc7-4395-46d3-b2f1-3b3c37036ad1" providerId="ADAL" clId="{FF07999E-EC8D-435C-95D5-B8CD345C58D7}" dt="2023-03-03T17:18:47.139" v="4532" actId="14100"/>
          <ac:spMkLst>
            <pc:docMk/>
            <pc:sldMk cId="1290944113" sldId="2147470065"/>
            <ac:spMk id="19" creationId="{C9E4195A-C6CD-3E76-EE13-C54500180E68}"/>
          </ac:spMkLst>
        </pc:spChg>
        <pc:spChg chg="add del mod">
          <ac:chgData name="Alex Powers" userId="ae4a1fc7-4395-46d3-b2f1-3b3c37036ad1" providerId="ADAL" clId="{FF07999E-EC8D-435C-95D5-B8CD345C58D7}" dt="2023-03-03T17:01:57.779" v="4128" actId="478"/>
          <ac:spMkLst>
            <pc:docMk/>
            <pc:sldMk cId="1290944113" sldId="2147470065"/>
            <ac:spMk id="1025" creationId="{74F7ABBA-5483-AB9B-2537-A6C020C36649}"/>
          </ac:spMkLst>
        </pc:spChg>
        <pc:spChg chg="add del mod">
          <ac:chgData name="Alex Powers" userId="ae4a1fc7-4395-46d3-b2f1-3b3c37036ad1" providerId="ADAL" clId="{FF07999E-EC8D-435C-95D5-B8CD345C58D7}" dt="2023-03-03T17:13:53.091" v="4447" actId="478"/>
          <ac:spMkLst>
            <pc:docMk/>
            <pc:sldMk cId="1290944113" sldId="2147470065"/>
            <ac:spMk id="1026" creationId="{64900306-1E1A-7CD2-9A25-471E1DD38E20}"/>
          </ac:spMkLst>
        </pc:spChg>
        <pc:spChg chg="add mod">
          <ac:chgData name="Alex Powers" userId="ae4a1fc7-4395-46d3-b2f1-3b3c37036ad1" providerId="ADAL" clId="{FF07999E-EC8D-435C-95D5-B8CD345C58D7}" dt="2023-03-03T17:24:29.823" v="4568" actId="1035"/>
          <ac:spMkLst>
            <pc:docMk/>
            <pc:sldMk cId="1290944113" sldId="2147470065"/>
            <ac:spMk id="1029" creationId="{F9804F50-EAFF-E858-A844-4BBE3ACFBF89}"/>
          </ac:spMkLst>
        </pc:spChg>
        <pc:spChg chg="add mod">
          <ac:chgData name="Alex Powers" userId="ae4a1fc7-4395-46d3-b2f1-3b3c37036ad1" providerId="ADAL" clId="{FF07999E-EC8D-435C-95D5-B8CD345C58D7}" dt="2023-03-03T17:24:29.823" v="4568" actId="1035"/>
          <ac:spMkLst>
            <pc:docMk/>
            <pc:sldMk cId="1290944113" sldId="2147470065"/>
            <ac:spMk id="1039" creationId="{ADC40D8D-FFCA-36CD-766B-7AA8FE94303B}"/>
          </ac:spMkLst>
        </pc:spChg>
        <pc:spChg chg="add mod">
          <ac:chgData name="Alex Powers" userId="ae4a1fc7-4395-46d3-b2f1-3b3c37036ad1" providerId="ADAL" clId="{FF07999E-EC8D-435C-95D5-B8CD345C58D7}" dt="2023-03-03T17:24:29.823" v="4568" actId="1035"/>
          <ac:spMkLst>
            <pc:docMk/>
            <pc:sldMk cId="1290944113" sldId="2147470065"/>
            <ac:spMk id="1043" creationId="{A7ACE756-7490-75CC-32B8-C4DB8EEAA048}"/>
          </ac:spMkLst>
        </pc:spChg>
        <pc:spChg chg="add mod">
          <ac:chgData name="Alex Powers" userId="ae4a1fc7-4395-46d3-b2f1-3b3c37036ad1" providerId="ADAL" clId="{FF07999E-EC8D-435C-95D5-B8CD345C58D7}" dt="2023-03-03T17:24:29.823" v="4568" actId="1035"/>
          <ac:spMkLst>
            <pc:docMk/>
            <pc:sldMk cId="1290944113" sldId="2147470065"/>
            <ac:spMk id="1052" creationId="{247D13A3-08D8-1104-CAF5-12E0078CFFEB}"/>
          </ac:spMkLst>
        </pc:spChg>
        <pc:spChg chg="add mod">
          <ac:chgData name="Alex Powers" userId="ae4a1fc7-4395-46d3-b2f1-3b3c37036ad1" providerId="ADAL" clId="{FF07999E-EC8D-435C-95D5-B8CD345C58D7}" dt="2023-03-03T17:24:29.823" v="4568" actId="1035"/>
          <ac:spMkLst>
            <pc:docMk/>
            <pc:sldMk cId="1290944113" sldId="2147470065"/>
            <ac:spMk id="1053" creationId="{BDDB259D-B129-4152-D11B-C403B261ED51}"/>
          </ac:spMkLst>
        </pc:spChg>
        <pc:spChg chg="add del mod">
          <ac:chgData name="Alex Powers" userId="ae4a1fc7-4395-46d3-b2f1-3b3c37036ad1" providerId="ADAL" clId="{FF07999E-EC8D-435C-95D5-B8CD345C58D7}" dt="2023-03-03T17:23:57.110" v="4554" actId="478"/>
          <ac:spMkLst>
            <pc:docMk/>
            <pc:sldMk cId="1290944113" sldId="2147470065"/>
            <ac:spMk id="1056" creationId="{C3558E13-7DDC-CE39-2E3C-6EC358A23F84}"/>
          </ac:spMkLst>
        </pc:spChg>
        <pc:grpChg chg="add del mod">
          <ac:chgData name="Alex Powers" userId="ae4a1fc7-4395-46d3-b2f1-3b3c37036ad1" providerId="ADAL" clId="{FF07999E-EC8D-435C-95D5-B8CD345C58D7}" dt="2023-03-03T16:58:31.583" v="4073" actId="165"/>
          <ac:grpSpMkLst>
            <pc:docMk/>
            <pc:sldMk cId="1290944113" sldId="2147470065"/>
            <ac:grpSpMk id="23" creationId="{49046C51-7880-58AD-E8B2-6FE359F26FA3}"/>
          </ac:grpSpMkLst>
        </pc:grpChg>
        <pc:grpChg chg="add mod">
          <ac:chgData name="Alex Powers" userId="ae4a1fc7-4395-46d3-b2f1-3b3c37036ad1" providerId="ADAL" clId="{FF07999E-EC8D-435C-95D5-B8CD345C58D7}" dt="2023-03-03T17:24:29.823" v="4568" actId="1035"/>
          <ac:grpSpMkLst>
            <pc:docMk/>
            <pc:sldMk cId="1290944113" sldId="2147470065"/>
            <ac:grpSpMk id="62" creationId="{3834409F-E16E-200F-FE8E-2FA31D870E53}"/>
          </ac:grpSpMkLst>
        </pc:grpChg>
        <pc:grpChg chg="del mod">
          <ac:chgData name="Alex Powers" userId="ae4a1fc7-4395-46d3-b2f1-3b3c37036ad1" providerId="ADAL" clId="{FF07999E-EC8D-435C-95D5-B8CD345C58D7}" dt="2023-03-03T17:06:22.224" v="4281" actId="478"/>
          <ac:grpSpMkLst>
            <pc:docMk/>
            <pc:sldMk cId="1290944113" sldId="2147470065"/>
            <ac:grpSpMk id="1077" creationId="{A5915ECB-6D1E-EA73-4AD7-776EC9F33C30}"/>
          </ac:grpSpMkLst>
        </pc:grpChg>
        <pc:grpChg chg="del mod">
          <ac:chgData name="Alex Powers" userId="ae4a1fc7-4395-46d3-b2f1-3b3c37036ad1" providerId="ADAL" clId="{FF07999E-EC8D-435C-95D5-B8CD345C58D7}" dt="2023-03-03T16:54:56.206" v="4031" actId="478"/>
          <ac:grpSpMkLst>
            <pc:docMk/>
            <pc:sldMk cId="1290944113" sldId="2147470065"/>
            <ac:grpSpMk id="1086" creationId="{BD769A70-F290-2C3C-5E7C-335765FD378B}"/>
          </ac:grpSpMkLst>
        </pc:grpChg>
        <pc:grpChg chg="del">
          <ac:chgData name="Alex Powers" userId="ae4a1fc7-4395-46d3-b2f1-3b3c37036ad1" providerId="ADAL" clId="{FF07999E-EC8D-435C-95D5-B8CD345C58D7}" dt="2023-03-03T16:54:54.288" v="4029" actId="478"/>
          <ac:grpSpMkLst>
            <pc:docMk/>
            <pc:sldMk cId="1290944113" sldId="2147470065"/>
            <ac:grpSpMk id="1087" creationId="{DA966F6E-EC5F-860E-5BDA-D9FA8A2EE0CE}"/>
          </ac:grpSpMkLst>
        </pc:grpChg>
        <pc:grpChg chg="del">
          <ac:chgData name="Alex Powers" userId="ae4a1fc7-4395-46d3-b2f1-3b3c37036ad1" providerId="ADAL" clId="{FF07999E-EC8D-435C-95D5-B8CD345C58D7}" dt="2023-03-03T16:54:44.675" v="4028" actId="478"/>
          <ac:grpSpMkLst>
            <pc:docMk/>
            <pc:sldMk cId="1290944113" sldId="2147470065"/>
            <ac:grpSpMk id="1092" creationId="{8D34BAA7-F68E-7EE6-D2EA-CB49CDF53E14}"/>
          </ac:grpSpMkLst>
        </pc:grpChg>
        <pc:picChg chg="add del mod">
          <ac:chgData name="Alex Powers" userId="ae4a1fc7-4395-46d3-b2f1-3b3c37036ad1" providerId="ADAL" clId="{FF07999E-EC8D-435C-95D5-B8CD345C58D7}" dt="2023-03-03T16:56:31.797" v="4047" actId="478"/>
          <ac:picMkLst>
            <pc:docMk/>
            <pc:sldMk cId="1290944113" sldId="2147470065"/>
            <ac:picMk id="5" creationId="{BEFE7503-A238-A5DE-51F4-9674A7649CEC}"/>
          </ac:picMkLst>
        </pc:picChg>
        <pc:picChg chg="add del mod">
          <ac:chgData name="Alex Powers" userId="ae4a1fc7-4395-46d3-b2f1-3b3c37036ad1" providerId="ADAL" clId="{FF07999E-EC8D-435C-95D5-B8CD345C58D7}" dt="2023-03-03T16:56:31.390" v="4046" actId="478"/>
          <ac:picMkLst>
            <pc:docMk/>
            <pc:sldMk cId="1290944113" sldId="2147470065"/>
            <ac:picMk id="6" creationId="{83920DCF-028C-283B-F7A7-619444A2210B}"/>
          </ac:picMkLst>
        </pc:picChg>
        <pc:picChg chg="add del mod">
          <ac:chgData name="Alex Powers" userId="ae4a1fc7-4395-46d3-b2f1-3b3c37036ad1" providerId="ADAL" clId="{FF07999E-EC8D-435C-95D5-B8CD345C58D7}" dt="2023-03-03T16:56:32.337" v="4048" actId="478"/>
          <ac:picMkLst>
            <pc:docMk/>
            <pc:sldMk cId="1290944113" sldId="2147470065"/>
            <ac:picMk id="7" creationId="{87FCB269-3F9A-CAE4-C6C6-36E019E03B21}"/>
          </ac:picMkLst>
        </pc:picChg>
        <pc:picChg chg="add mod">
          <ac:chgData name="Alex Powers" userId="ae4a1fc7-4395-46d3-b2f1-3b3c37036ad1" providerId="ADAL" clId="{FF07999E-EC8D-435C-95D5-B8CD345C58D7}" dt="2023-03-03T17:24:29.823" v="4568" actId="1035"/>
          <ac:picMkLst>
            <pc:docMk/>
            <pc:sldMk cId="1290944113" sldId="2147470065"/>
            <ac:picMk id="8" creationId="{600F87CA-4F82-43D6-AA46-02F38CB23A35}"/>
          </ac:picMkLst>
        </pc:picChg>
        <pc:picChg chg="add mod">
          <ac:chgData name="Alex Powers" userId="ae4a1fc7-4395-46d3-b2f1-3b3c37036ad1" providerId="ADAL" clId="{FF07999E-EC8D-435C-95D5-B8CD345C58D7}" dt="2023-03-03T17:24:29.823" v="4568" actId="1035"/>
          <ac:picMkLst>
            <pc:docMk/>
            <pc:sldMk cId="1290944113" sldId="2147470065"/>
            <ac:picMk id="9" creationId="{8F58B164-EEDE-109E-286B-B06A502EA0E7}"/>
          </ac:picMkLst>
        </pc:picChg>
        <pc:picChg chg="add mod">
          <ac:chgData name="Alex Powers" userId="ae4a1fc7-4395-46d3-b2f1-3b3c37036ad1" providerId="ADAL" clId="{FF07999E-EC8D-435C-95D5-B8CD345C58D7}" dt="2023-03-03T17:24:29.823" v="4568" actId="1035"/>
          <ac:picMkLst>
            <pc:docMk/>
            <pc:sldMk cId="1290944113" sldId="2147470065"/>
            <ac:picMk id="10" creationId="{C45F612D-E9AD-88DE-218F-755280C3319F}"/>
          </ac:picMkLst>
        </pc:picChg>
        <pc:picChg chg="add del mod">
          <ac:chgData name="Alex Powers" userId="ae4a1fc7-4395-46d3-b2f1-3b3c37036ad1" providerId="ADAL" clId="{FF07999E-EC8D-435C-95D5-B8CD345C58D7}" dt="2023-03-03T16:57:42" v="4060" actId="478"/>
          <ac:picMkLst>
            <pc:docMk/>
            <pc:sldMk cId="1290944113" sldId="2147470065"/>
            <ac:picMk id="18" creationId="{A7332E2A-5951-1E20-B383-B2159FA30FBA}"/>
          </ac:picMkLst>
        </pc:picChg>
        <pc:picChg chg="add del mod topLvl">
          <ac:chgData name="Alex Powers" userId="ae4a1fc7-4395-46d3-b2f1-3b3c37036ad1" providerId="ADAL" clId="{FF07999E-EC8D-435C-95D5-B8CD345C58D7}" dt="2023-03-03T16:58:33.191" v="4074" actId="478"/>
          <ac:picMkLst>
            <pc:docMk/>
            <pc:sldMk cId="1290944113" sldId="2147470065"/>
            <ac:picMk id="21" creationId="{FEC3C7CB-3B80-8C1F-23E7-55A989282BE5}"/>
          </ac:picMkLst>
        </pc:picChg>
        <pc:picChg chg="add mod ord topLvl">
          <ac:chgData name="Alex Powers" userId="ae4a1fc7-4395-46d3-b2f1-3b3c37036ad1" providerId="ADAL" clId="{FF07999E-EC8D-435C-95D5-B8CD345C58D7}" dt="2023-03-03T16:58:50.640" v="4079" actId="1076"/>
          <ac:picMkLst>
            <pc:docMk/>
            <pc:sldMk cId="1290944113" sldId="2147470065"/>
            <ac:picMk id="22" creationId="{7FEA1831-9D96-9CF7-9DE5-BEBDE62C9619}"/>
          </ac:picMkLst>
        </pc:picChg>
        <pc:picChg chg="add mod">
          <ac:chgData name="Alex Powers" userId="ae4a1fc7-4395-46d3-b2f1-3b3c37036ad1" providerId="ADAL" clId="{FF07999E-EC8D-435C-95D5-B8CD345C58D7}" dt="2023-03-03T16:58:50.640" v="4079" actId="1076"/>
          <ac:picMkLst>
            <pc:docMk/>
            <pc:sldMk cId="1290944113" sldId="2147470065"/>
            <ac:picMk id="25" creationId="{F7A16294-0E94-ED1C-C98D-502549DDC670}"/>
          </ac:picMkLst>
        </pc:picChg>
        <pc:picChg chg="add del mod">
          <ac:chgData name="Alex Powers" userId="ae4a1fc7-4395-46d3-b2f1-3b3c37036ad1" providerId="ADAL" clId="{FF07999E-EC8D-435C-95D5-B8CD345C58D7}" dt="2023-03-03T16:59:25.081" v="4087" actId="478"/>
          <ac:picMkLst>
            <pc:docMk/>
            <pc:sldMk cId="1290944113" sldId="2147470065"/>
            <ac:picMk id="30" creationId="{3667356A-4D0A-4D90-5C70-689A0CDFE576}"/>
          </ac:picMkLst>
        </pc:picChg>
        <pc:picChg chg="add del mod">
          <ac:chgData name="Alex Powers" userId="ae4a1fc7-4395-46d3-b2f1-3b3c37036ad1" providerId="ADAL" clId="{FF07999E-EC8D-435C-95D5-B8CD345C58D7}" dt="2023-03-03T17:00:00.092" v="4093" actId="21"/>
          <ac:picMkLst>
            <pc:docMk/>
            <pc:sldMk cId="1290944113" sldId="2147470065"/>
            <ac:picMk id="38" creationId="{7AEC1E2F-195E-B760-DA67-CBC210D08115}"/>
          </ac:picMkLst>
        </pc:picChg>
        <pc:picChg chg="add del mod">
          <ac:chgData name="Alex Powers" userId="ae4a1fc7-4395-46d3-b2f1-3b3c37036ad1" providerId="ADAL" clId="{FF07999E-EC8D-435C-95D5-B8CD345C58D7}" dt="2023-03-03T17:00:07.080" v="4095" actId="478"/>
          <ac:picMkLst>
            <pc:docMk/>
            <pc:sldMk cId="1290944113" sldId="2147470065"/>
            <ac:picMk id="40" creationId="{E573D438-019F-74C0-D0C5-C127D95BED11}"/>
          </ac:picMkLst>
        </pc:picChg>
        <pc:picChg chg="add mod ord">
          <ac:chgData name="Alex Powers" userId="ae4a1fc7-4395-46d3-b2f1-3b3c37036ad1" providerId="ADAL" clId="{FF07999E-EC8D-435C-95D5-B8CD345C58D7}" dt="2023-03-03T17:24:29.823" v="4568" actId="1035"/>
          <ac:picMkLst>
            <pc:docMk/>
            <pc:sldMk cId="1290944113" sldId="2147470065"/>
            <ac:picMk id="60" creationId="{773A50FC-1B9A-E986-C9EA-5667BF760BA8}"/>
          </ac:picMkLst>
        </pc:picChg>
        <pc:picChg chg="add del mod">
          <ac:chgData name="Alex Powers" userId="ae4a1fc7-4395-46d3-b2f1-3b3c37036ad1" providerId="ADAL" clId="{FF07999E-EC8D-435C-95D5-B8CD345C58D7}" dt="2023-03-03T17:09:32.315" v="4300" actId="478"/>
          <ac:picMkLst>
            <pc:docMk/>
            <pc:sldMk cId="1290944113" sldId="2147470065"/>
            <ac:picMk id="1042" creationId="{A7BBDC92-EC1A-248E-CAF3-7BC53D34556D}"/>
          </ac:picMkLst>
        </pc:picChg>
        <pc:picChg chg="add mod">
          <ac:chgData name="Alex Powers" userId="ae4a1fc7-4395-46d3-b2f1-3b3c37036ad1" providerId="ADAL" clId="{FF07999E-EC8D-435C-95D5-B8CD345C58D7}" dt="2023-03-03T17:24:29.823" v="4568" actId="1035"/>
          <ac:picMkLst>
            <pc:docMk/>
            <pc:sldMk cId="1290944113" sldId="2147470065"/>
            <ac:picMk id="1046" creationId="{76FB850E-5920-140C-F635-617D9CC116E2}"/>
          </ac:picMkLst>
        </pc:picChg>
        <pc:cxnChg chg="add mod">
          <ac:chgData name="Alex Powers" userId="ae4a1fc7-4395-46d3-b2f1-3b3c37036ad1" providerId="ADAL" clId="{FF07999E-EC8D-435C-95D5-B8CD345C58D7}" dt="2023-03-03T17:24:29.823" v="4568" actId="1035"/>
          <ac:cxnSpMkLst>
            <pc:docMk/>
            <pc:sldMk cId="1290944113" sldId="2147470065"/>
            <ac:cxnSpMk id="12" creationId="{C6F81F86-8BD9-A180-E5E7-269ABDF0FC0A}"/>
          </ac:cxnSpMkLst>
        </pc:cxnChg>
        <pc:cxnChg chg="add del mod">
          <ac:chgData name="Alex Powers" userId="ae4a1fc7-4395-46d3-b2f1-3b3c37036ad1" providerId="ADAL" clId="{FF07999E-EC8D-435C-95D5-B8CD345C58D7}" dt="2023-03-03T17:03:13.523" v="4152" actId="478"/>
          <ac:cxnSpMkLst>
            <pc:docMk/>
            <pc:sldMk cId="1290944113" sldId="2147470065"/>
            <ac:cxnSpMk id="1031" creationId="{068DC62D-1225-3731-7624-0DCE6EE5900E}"/>
          </ac:cxnSpMkLst>
        </pc:cxnChg>
        <pc:cxnChg chg="add del mod">
          <ac:chgData name="Alex Powers" userId="ae4a1fc7-4395-46d3-b2f1-3b3c37036ad1" providerId="ADAL" clId="{FF07999E-EC8D-435C-95D5-B8CD345C58D7}" dt="2023-03-03T17:06:17.207" v="4280" actId="478"/>
          <ac:cxnSpMkLst>
            <pc:docMk/>
            <pc:sldMk cId="1290944113" sldId="2147470065"/>
            <ac:cxnSpMk id="1037" creationId="{DD015212-4F3D-9D7E-9DE2-6D83A18998D5}"/>
          </ac:cxnSpMkLst>
        </pc:cxnChg>
      </pc:sldChg>
      <pc:sldChg chg="add mod modShow">
        <pc:chgData name="Alex Powers" userId="ae4a1fc7-4395-46d3-b2f1-3b3c37036ad1" providerId="ADAL" clId="{FF07999E-EC8D-435C-95D5-B8CD345C58D7}" dt="2023-03-08T01:56:08.466" v="4575" actId="729"/>
        <pc:sldMkLst>
          <pc:docMk/>
          <pc:sldMk cId="187844155" sldId="2147470066"/>
        </pc:sldMkLst>
      </pc:sldChg>
      <pc:sldChg chg="add">
        <pc:chgData name="Alex Powers" userId="ae4a1fc7-4395-46d3-b2f1-3b3c37036ad1" providerId="ADAL" clId="{FF07999E-EC8D-435C-95D5-B8CD345C58D7}" dt="2023-03-08T01:56:21.696" v="4576"/>
        <pc:sldMkLst>
          <pc:docMk/>
          <pc:sldMk cId="1767361340" sldId="2147470067"/>
        </pc:sldMkLst>
      </pc:sldChg>
      <pc:sldMasterChg chg="delSldLayout">
        <pc:chgData name="Alex Powers" userId="ae4a1fc7-4395-46d3-b2f1-3b3c37036ad1" providerId="ADAL" clId="{FF07999E-EC8D-435C-95D5-B8CD345C58D7}" dt="2023-02-08T17:50:24.620" v="85" actId="47"/>
        <pc:sldMasterMkLst>
          <pc:docMk/>
          <pc:sldMasterMk cId="3746029279" sldId="2147484590"/>
        </pc:sldMasterMkLst>
        <pc:sldLayoutChg chg="del">
          <pc:chgData name="Alex Powers" userId="ae4a1fc7-4395-46d3-b2f1-3b3c37036ad1" providerId="ADAL" clId="{FF07999E-EC8D-435C-95D5-B8CD345C58D7}" dt="2023-02-08T17:50:24.620" v="85" actId="47"/>
          <pc:sldLayoutMkLst>
            <pc:docMk/>
            <pc:sldMasterMk cId="3746029279" sldId="2147484590"/>
            <pc:sldLayoutMk cId="2618934949" sldId="2147485327"/>
          </pc:sldLayoutMkLst>
        </pc:sldLayoutChg>
      </pc:sldMasterChg>
    </pc:docChg>
  </pc:docChgLst>
  <pc:docChgLst>
    <pc:chgData name="Alex Powers" userId="ae4a1fc7-4395-46d3-b2f1-3b3c37036ad1" providerId="ADAL" clId="{CA276D41-AFC9-4BEF-B6EE-46680A52C501}"/>
    <pc:docChg chg="undo redo custSel addSld delSld modSld sldOrd modSection">
      <pc:chgData name="Alex Powers" userId="ae4a1fc7-4395-46d3-b2f1-3b3c37036ad1" providerId="ADAL" clId="{CA276D41-AFC9-4BEF-B6EE-46680A52C501}" dt="2022-09-22T15:20:49.453" v="5404" actId="12789"/>
      <pc:docMkLst>
        <pc:docMk/>
      </pc:docMkLst>
      <pc:sldChg chg="addSp modSp mod">
        <pc:chgData name="Alex Powers" userId="ae4a1fc7-4395-46d3-b2f1-3b3c37036ad1" providerId="ADAL" clId="{CA276D41-AFC9-4BEF-B6EE-46680A52C501}" dt="2022-09-21T18:09:01.656" v="849" actId="20577"/>
        <pc:sldMkLst>
          <pc:docMk/>
          <pc:sldMk cId="590324826" sldId="331"/>
        </pc:sldMkLst>
        <pc:spChg chg="add mod">
          <ac:chgData name="Alex Powers" userId="ae4a1fc7-4395-46d3-b2f1-3b3c37036ad1" providerId="ADAL" clId="{CA276D41-AFC9-4BEF-B6EE-46680A52C501}" dt="2022-09-21T17:20:03.716" v="742" actId="1076"/>
          <ac:spMkLst>
            <pc:docMk/>
            <pc:sldMk cId="590324826" sldId="331"/>
            <ac:spMk id="4" creationId="{073A8F06-C566-BAFF-6E2C-C7B7BAA5FABC}"/>
          </ac:spMkLst>
        </pc:spChg>
        <pc:graphicFrameChg chg="modGraphic">
          <ac:chgData name="Alex Powers" userId="ae4a1fc7-4395-46d3-b2f1-3b3c37036ad1" providerId="ADAL" clId="{CA276D41-AFC9-4BEF-B6EE-46680A52C501}" dt="2022-09-21T18:09:01.656" v="849" actId="20577"/>
          <ac:graphicFrameMkLst>
            <pc:docMk/>
            <pc:sldMk cId="590324826" sldId="331"/>
            <ac:graphicFrameMk id="7" creationId="{3E5C1877-83B6-43B2-8D9F-D6B32A5B8BB7}"/>
          </ac:graphicFrameMkLst>
        </pc:graphicFrameChg>
      </pc:sldChg>
      <pc:sldChg chg="ord">
        <pc:chgData name="Alex Powers" userId="ae4a1fc7-4395-46d3-b2f1-3b3c37036ad1" providerId="ADAL" clId="{CA276D41-AFC9-4BEF-B6EE-46680A52C501}" dt="2022-09-22T15:14:23.018" v="5274"/>
        <pc:sldMkLst>
          <pc:docMk/>
          <pc:sldMk cId="640778274" sldId="376"/>
        </pc:sldMkLst>
      </pc:sldChg>
      <pc:sldChg chg="add">
        <pc:chgData name="Alex Powers" userId="ae4a1fc7-4395-46d3-b2f1-3b3c37036ad1" providerId="ADAL" clId="{CA276D41-AFC9-4BEF-B6EE-46680A52C501}" dt="2022-09-21T17:30:51.937" v="759"/>
        <pc:sldMkLst>
          <pc:docMk/>
          <pc:sldMk cId="2081997488" sldId="452"/>
        </pc:sldMkLst>
      </pc:sldChg>
      <pc:sldChg chg="del">
        <pc:chgData name="Alex Powers" userId="ae4a1fc7-4395-46d3-b2f1-3b3c37036ad1" providerId="ADAL" clId="{CA276D41-AFC9-4BEF-B6EE-46680A52C501}" dt="2022-09-21T17:30:48.037" v="758" actId="2696"/>
        <pc:sldMkLst>
          <pc:docMk/>
          <pc:sldMk cId="4176326124" sldId="452"/>
        </pc:sldMkLst>
      </pc:sldChg>
      <pc:sldChg chg="modTransition">
        <pc:chgData name="Alex Powers" userId="ae4a1fc7-4395-46d3-b2f1-3b3c37036ad1" providerId="ADAL" clId="{CA276D41-AFC9-4BEF-B6EE-46680A52C501}" dt="2022-09-21T12:44:01.891" v="0"/>
        <pc:sldMkLst>
          <pc:docMk/>
          <pc:sldMk cId="3586899211" sldId="565"/>
        </pc:sldMkLst>
      </pc:sldChg>
      <pc:sldChg chg="add del">
        <pc:chgData name="Alex Powers" userId="ae4a1fc7-4395-46d3-b2f1-3b3c37036ad1" providerId="ADAL" clId="{CA276D41-AFC9-4BEF-B6EE-46680A52C501}" dt="2022-09-21T17:56:51.800" v="796" actId="2696"/>
        <pc:sldMkLst>
          <pc:docMk/>
          <pc:sldMk cId="128019046" sldId="2980"/>
        </pc:sldMkLst>
      </pc:sldChg>
      <pc:sldChg chg="add del">
        <pc:chgData name="Alex Powers" userId="ae4a1fc7-4395-46d3-b2f1-3b3c37036ad1" providerId="ADAL" clId="{CA276D41-AFC9-4BEF-B6EE-46680A52C501}" dt="2022-09-21T17:56:13.495" v="788"/>
        <pc:sldMkLst>
          <pc:docMk/>
          <pc:sldMk cId="273647098" sldId="2980"/>
        </pc:sldMkLst>
      </pc:sldChg>
      <pc:sldChg chg="add">
        <pc:chgData name="Alex Powers" userId="ae4a1fc7-4395-46d3-b2f1-3b3c37036ad1" providerId="ADAL" clId="{CA276D41-AFC9-4BEF-B6EE-46680A52C501}" dt="2022-09-21T17:56:55.544" v="797"/>
        <pc:sldMkLst>
          <pc:docMk/>
          <pc:sldMk cId="1604298163" sldId="2980"/>
        </pc:sldMkLst>
      </pc:sldChg>
      <pc:sldChg chg="del">
        <pc:chgData name="Alex Powers" userId="ae4a1fc7-4395-46d3-b2f1-3b3c37036ad1" providerId="ADAL" clId="{CA276D41-AFC9-4BEF-B6EE-46680A52C501}" dt="2022-09-21T17:56:01.790" v="786" actId="2696"/>
        <pc:sldMkLst>
          <pc:docMk/>
          <pc:sldMk cId="2294182962" sldId="2980"/>
        </pc:sldMkLst>
      </pc:sldChg>
      <pc:sldChg chg="add">
        <pc:chgData name="Alex Powers" userId="ae4a1fc7-4395-46d3-b2f1-3b3c37036ad1" providerId="ADAL" clId="{CA276D41-AFC9-4BEF-B6EE-46680A52C501}" dt="2022-09-21T17:56:55.544" v="797"/>
        <pc:sldMkLst>
          <pc:docMk/>
          <pc:sldMk cId="1352095539" sldId="8747"/>
        </pc:sldMkLst>
      </pc:sldChg>
      <pc:sldChg chg="del">
        <pc:chgData name="Alex Powers" userId="ae4a1fc7-4395-46d3-b2f1-3b3c37036ad1" providerId="ADAL" clId="{CA276D41-AFC9-4BEF-B6EE-46680A52C501}" dt="2022-09-21T17:56:01.790" v="786" actId="2696"/>
        <pc:sldMkLst>
          <pc:docMk/>
          <pc:sldMk cId="1425196971" sldId="8747"/>
        </pc:sldMkLst>
      </pc:sldChg>
      <pc:sldChg chg="add del">
        <pc:chgData name="Alex Powers" userId="ae4a1fc7-4395-46d3-b2f1-3b3c37036ad1" providerId="ADAL" clId="{CA276D41-AFC9-4BEF-B6EE-46680A52C501}" dt="2022-09-21T17:56:51.800" v="796" actId="2696"/>
        <pc:sldMkLst>
          <pc:docMk/>
          <pc:sldMk cId="2904193164" sldId="8747"/>
        </pc:sldMkLst>
      </pc:sldChg>
      <pc:sldChg chg="add del">
        <pc:chgData name="Alex Powers" userId="ae4a1fc7-4395-46d3-b2f1-3b3c37036ad1" providerId="ADAL" clId="{CA276D41-AFC9-4BEF-B6EE-46680A52C501}" dt="2022-09-21T17:56:13.495" v="788"/>
        <pc:sldMkLst>
          <pc:docMk/>
          <pc:sldMk cId="3463218286" sldId="8747"/>
        </pc:sldMkLst>
      </pc:sldChg>
      <pc:sldChg chg="add">
        <pc:chgData name="Alex Powers" userId="ae4a1fc7-4395-46d3-b2f1-3b3c37036ad1" providerId="ADAL" clId="{CA276D41-AFC9-4BEF-B6EE-46680A52C501}" dt="2022-09-21T17:56:55.544" v="797"/>
        <pc:sldMkLst>
          <pc:docMk/>
          <pc:sldMk cId="661967785" sldId="8748"/>
        </pc:sldMkLst>
      </pc:sldChg>
      <pc:sldChg chg="add del">
        <pc:chgData name="Alex Powers" userId="ae4a1fc7-4395-46d3-b2f1-3b3c37036ad1" providerId="ADAL" clId="{CA276D41-AFC9-4BEF-B6EE-46680A52C501}" dt="2022-09-21T17:56:13.495" v="788"/>
        <pc:sldMkLst>
          <pc:docMk/>
          <pc:sldMk cId="703330947" sldId="8748"/>
        </pc:sldMkLst>
      </pc:sldChg>
      <pc:sldChg chg="add del">
        <pc:chgData name="Alex Powers" userId="ae4a1fc7-4395-46d3-b2f1-3b3c37036ad1" providerId="ADAL" clId="{CA276D41-AFC9-4BEF-B6EE-46680A52C501}" dt="2022-09-21T17:56:51.800" v="796" actId="2696"/>
        <pc:sldMkLst>
          <pc:docMk/>
          <pc:sldMk cId="2890785978" sldId="8748"/>
        </pc:sldMkLst>
      </pc:sldChg>
      <pc:sldChg chg="del mod modShow">
        <pc:chgData name="Alex Powers" userId="ae4a1fc7-4395-46d3-b2f1-3b3c37036ad1" providerId="ADAL" clId="{CA276D41-AFC9-4BEF-B6EE-46680A52C501}" dt="2022-09-21T17:56:01.790" v="786" actId="2696"/>
        <pc:sldMkLst>
          <pc:docMk/>
          <pc:sldMk cId="2966015754" sldId="8748"/>
        </pc:sldMkLst>
      </pc:sldChg>
      <pc:sldChg chg="del">
        <pc:chgData name="Alex Powers" userId="ae4a1fc7-4395-46d3-b2f1-3b3c37036ad1" providerId="ADAL" clId="{CA276D41-AFC9-4BEF-B6EE-46680A52C501}" dt="2022-09-21T17:30:48.037" v="758" actId="2696"/>
        <pc:sldMkLst>
          <pc:docMk/>
          <pc:sldMk cId="1887737446" sldId="2134805322"/>
        </pc:sldMkLst>
      </pc:sldChg>
      <pc:sldChg chg="delSp modSp add mod delAnim modAnim">
        <pc:chgData name="Alex Powers" userId="ae4a1fc7-4395-46d3-b2f1-3b3c37036ad1" providerId="ADAL" clId="{CA276D41-AFC9-4BEF-B6EE-46680A52C501}" dt="2022-09-21T20:19:37.109" v="1018"/>
        <pc:sldMkLst>
          <pc:docMk/>
          <pc:sldMk cId="2722310442" sldId="2134805322"/>
        </pc:sldMkLst>
        <pc:spChg chg="del">
          <ac:chgData name="Alex Powers" userId="ae4a1fc7-4395-46d3-b2f1-3b3c37036ad1" providerId="ADAL" clId="{CA276D41-AFC9-4BEF-B6EE-46680A52C501}" dt="2022-09-21T17:52:24.485" v="771" actId="478"/>
          <ac:spMkLst>
            <pc:docMk/>
            <pc:sldMk cId="2722310442" sldId="2134805322"/>
            <ac:spMk id="7" creationId="{00000000-0000-0000-0000-000000000000}"/>
          </ac:spMkLst>
        </pc:spChg>
        <pc:spChg chg="del mod">
          <ac:chgData name="Alex Powers" userId="ae4a1fc7-4395-46d3-b2f1-3b3c37036ad1" providerId="ADAL" clId="{CA276D41-AFC9-4BEF-B6EE-46680A52C501}" dt="2022-09-21T17:52:21.133" v="770" actId="478"/>
          <ac:spMkLst>
            <pc:docMk/>
            <pc:sldMk cId="2722310442" sldId="2134805322"/>
            <ac:spMk id="11" creationId="{00000000-0000-0000-0000-000000000000}"/>
          </ac:spMkLst>
        </pc:spChg>
        <pc:spChg chg="mod">
          <ac:chgData name="Alex Powers" userId="ae4a1fc7-4395-46d3-b2f1-3b3c37036ad1" providerId="ADAL" clId="{CA276D41-AFC9-4BEF-B6EE-46680A52C501}" dt="2022-09-21T17:52:16.579" v="768" actId="21"/>
          <ac:spMkLst>
            <pc:docMk/>
            <pc:sldMk cId="2722310442" sldId="2134805322"/>
            <ac:spMk id="14" creationId="{870E74A7-55E3-4A2E-BAA5-7145B4E4C2D1}"/>
          </ac:spMkLst>
        </pc:spChg>
        <pc:spChg chg="del topLvl">
          <ac:chgData name="Alex Powers" userId="ae4a1fc7-4395-46d3-b2f1-3b3c37036ad1" providerId="ADAL" clId="{CA276D41-AFC9-4BEF-B6EE-46680A52C501}" dt="2022-09-21T17:53:01.946" v="772" actId="478"/>
          <ac:spMkLst>
            <pc:docMk/>
            <pc:sldMk cId="2722310442" sldId="2134805322"/>
            <ac:spMk id="29" creationId="{D35C2071-A088-4E1F-B660-883E003F8DE1}"/>
          </ac:spMkLst>
        </pc:spChg>
        <pc:spChg chg="mod topLvl">
          <ac:chgData name="Alex Powers" userId="ae4a1fc7-4395-46d3-b2f1-3b3c37036ad1" providerId="ADAL" clId="{CA276D41-AFC9-4BEF-B6EE-46680A52C501}" dt="2022-09-21T17:53:18.481" v="783" actId="20577"/>
          <ac:spMkLst>
            <pc:docMk/>
            <pc:sldMk cId="2722310442" sldId="2134805322"/>
            <ac:spMk id="45" creationId="{EAF243BA-79BB-4E9B-A926-13A91B678701}"/>
          </ac:spMkLst>
        </pc:spChg>
        <pc:spChg chg="del">
          <ac:chgData name="Alex Powers" userId="ae4a1fc7-4395-46d3-b2f1-3b3c37036ad1" providerId="ADAL" clId="{CA276D41-AFC9-4BEF-B6EE-46680A52C501}" dt="2022-09-21T17:52:08.380" v="766" actId="478"/>
          <ac:spMkLst>
            <pc:docMk/>
            <pc:sldMk cId="2722310442" sldId="2134805322"/>
            <ac:spMk id="49" creationId="{2BC01710-A7E0-42E2-B935-77DDB32A2F51}"/>
          </ac:spMkLst>
        </pc:spChg>
        <pc:grpChg chg="del">
          <ac:chgData name="Alex Powers" userId="ae4a1fc7-4395-46d3-b2f1-3b3c37036ad1" providerId="ADAL" clId="{CA276D41-AFC9-4BEF-B6EE-46680A52C501}" dt="2022-09-21T17:53:01.946" v="772" actId="478"/>
          <ac:grpSpMkLst>
            <pc:docMk/>
            <pc:sldMk cId="2722310442" sldId="2134805322"/>
            <ac:grpSpMk id="5" creationId="{6351B261-DE54-4A46-AEE7-050960FD222F}"/>
          </ac:grpSpMkLst>
        </pc:grpChg>
        <pc:grpChg chg="del">
          <ac:chgData name="Alex Powers" userId="ae4a1fc7-4395-46d3-b2f1-3b3c37036ad1" providerId="ADAL" clId="{CA276D41-AFC9-4BEF-B6EE-46680A52C501}" dt="2022-09-21T17:52:24.485" v="771" actId="478"/>
          <ac:grpSpMkLst>
            <pc:docMk/>
            <pc:sldMk cId="2722310442" sldId="2134805322"/>
            <ac:grpSpMk id="42" creationId="{CAB7A3C9-4208-4D23-9CA0-CF663A8DCC8E}"/>
          </ac:grpSpMkLst>
        </pc:grpChg>
        <pc:grpChg chg="del">
          <ac:chgData name="Alex Powers" userId="ae4a1fc7-4395-46d3-b2f1-3b3c37036ad1" providerId="ADAL" clId="{CA276D41-AFC9-4BEF-B6EE-46680A52C501}" dt="2022-09-21T17:52:08.380" v="766" actId="478"/>
          <ac:grpSpMkLst>
            <pc:docMk/>
            <pc:sldMk cId="2722310442" sldId="2134805322"/>
            <ac:grpSpMk id="51" creationId="{F7EDDFA3-7F6C-4A71-94F7-1EFBE437B135}"/>
          </ac:grpSpMkLst>
        </pc:grpChg>
      </pc:sldChg>
      <pc:sldChg chg="addSp delSp modSp mod">
        <pc:chgData name="Alex Powers" userId="ae4a1fc7-4395-46d3-b2f1-3b3c37036ad1" providerId="ADAL" clId="{CA276D41-AFC9-4BEF-B6EE-46680A52C501}" dt="2022-09-21T14:14:47.666" v="666" actId="1076"/>
        <pc:sldMkLst>
          <pc:docMk/>
          <pc:sldMk cId="1827504476" sldId="2134805339"/>
        </pc:sldMkLst>
        <pc:spChg chg="del mod">
          <ac:chgData name="Alex Powers" userId="ae4a1fc7-4395-46d3-b2f1-3b3c37036ad1" providerId="ADAL" clId="{CA276D41-AFC9-4BEF-B6EE-46680A52C501}" dt="2022-09-21T12:46:33.041" v="19" actId="478"/>
          <ac:spMkLst>
            <pc:docMk/>
            <pc:sldMk cId="1827504476" sldId="2134805339"/>
            <ac:spMk id="27" creationId="{C8E78701-D2C8-4E18-A35E-4BEB7BFC1EDD}"/>
          </ac:spMkLst>
        </pc:spChg>
        <pc:spChg chg="del">
          <ac:chgData name="Alex Powers" userId="ae4a1fc7-4395-46d3-b2f1-3b3c37036ad1" providerId="ADAL" clId="{CA276D41-AFC9-4BEF-B6EE-46680A52C501}" dt="2022-09-21T12:46:26.296" v="17" actId="478"/>
          <ac:spMkLst>
            <pc:docMk/>
            <pc:sldMk cId="1827504476" sldId="2134805339"/>
            <ac:spMk id="28" creationId="{9E374483-B2C0-4286-B823-20F29BF06326}"/>
          </ac:spMkLst>
        </pc:spChg>
        <pc:spChg chg="add mod">
          <ac:chgData name="Alex Powers" userId="ae4a1fc7-4395-46d3-b2f1-3b3c37036ad1" providerId="ADAL" clId="{CA276D41-AFC9-4BEF-B6EE-46680A52C501}" dt="2022-09-21T14:13:02.820" v="640" actId="1076"/>
          <ac:spMkLst>
            <pc:docMk/>
            <pc:sldMk cId="1827504476" sldId="2134805339"/>
            <ac:spMk id="36" creationId="{C8F5599B-785E-4D66-4E43-842D79084B77}"/>
          </ac:spMkLst>
        </pc:spChg>
        <pc:spChg chg="mod">
          <ac:chgData name="Alex Powers" userId="ae4a1fc7-4395-46d3-b2f1-3b3c37036ad1" providerId="ADAL" clId="{CA276D41-AFC9-4BEF-B6EE-46680A52C501}" dt="2022-09-21T14:12:14.124" v="605" actId="1076"/>
          <ac:spMkLst>
            <pc:docMk/>
            <pc:sldMk cId="1827504476" sldId="2134805339"/>
            <ac:spMk id="61" creationId="{FE7C3B3B-A85B-4DA2-8FED-DAD84A1EF3B6}"/>
          </ac:spMkLst>
        </pc:spChg>
        <pc:spChg chg="add del mod">
          <ac:chgData name="Alex Powers" userId="ae4a1fc7-4395-46d3-b2f1-3b3c37036ad1" providerId="ADAL" clId="{CA276D41-AFC9-4BEF-B6EE-46680A52C501}" dt="2022-09-21T14:14:47.666" v="666" actId="1076"/>
          <ac:spMkLst>
            <pc:docMk/>
            <pc:sldMk cId="1827504476" sldId="2134805339"/>
            <ac:spMk id="67" creationId="{B8D7F6F7-4B4A-A599-3291-941EC7E92545}"/>
          </ac:spMkLst>
        </pc:spChg>
        <pc:grpChg chg="mod">
          <ac:chgData name="Alex Powers" userId="ae4a1fc7-4395-46d3-b2f1-3b3c37036ad1" providerId="ADAL" clId="{CA276D41-AFC9-4BEF-B6EE-46680A52C501}" dt="2022-09-21T14:13:55.714" v="652" actId="1076"/>
          <ac:grpSpMkLst>
            <pc:docMk/>
            <pc:sldMk cId="1827504476" sldId="2134805339"/>
            <ac:grpSpMk id="90" creationId="{A02C1347-F432-4150-ADA2-3B80DD5777E4}"/>
          </ac:grpSpMkLst>
        </pc:grpChg>
        <pc:picChg chg="add">
          <ac:chgData name="Alex Powers" userId="ae4a1fc7-4395-46d3-b2f1-3b3c37036ad1" providerId="ADAL" clId="{CA276D41-AFC9-4BEF-B6EE-46680A52C501}" dt="2022-09-21T12:44:29.650" v="3" actId="22"/>
          <ac:picMkLst>
            <pc:docMk/>
            <pc:sldMk cId="1827504476" sldId="2134805339"/>
            <ac:picMk id="26" creationId="{57888D25-86BF-1FB9-65BC-A536E03AAF6B}"/>
          </ac:picMkLst>
        </pc:picChg>
        <pc:picChg chg="add mod">
          <ac:chgData name="Alex Powers" userId="ae4a1fc7-4395-46d3-b2f1-3b3c37036ad1" providerId="ADAL" clId="{CA276D41-AFC9-4BEF-B6EE-46680A52C501}" dt="2022-09-21T12:45:57.070" v="7" actId="1076"/>
          <ac:picMkLst>
            <pc:docMk/>
            <pc:sldMk cId="1827504476" sldId="2134805339"/>
            <ac:picMk id="31" creationId="{0719BB6D-48EC-1033-4908-7C7D8ECA38A9}"/>
          </ac:picMkLst>
        </pc:picChg>
        <pc:picChg chg="add mod">
          <ac:chgData name="Alex Powers" userId="ae4a1fc7-4395-46d3-b2f1-3b3c37036ad1" providerId="ADAL" clId="{CA276D41-AFC9-4BEF-B6EE-46680A52C501}" dt="2022-09-21T14:13:30.624" v="645" actId="1076"/>
          <ac:picMkLst>
            <pc:docMk/>
            <pc:sldMk cId="1827504476" sldId="2134805339"/>
            <ac:picMk id="48" creationId="{2AB9B250-4B78-DCF8-A4BC-2C6A24A73E8C}"/>
          </ac:picMkLst>
        </pc:picChg>
        <pc:picChg chg="add mod ord modCrop">
          <ac:chgData name="Alex Powers" userId="ae4a1fc7-4395-46d3-b2f1-3b3c37036ad1" providerId="ADAL" clId="{CA276D41-AFC9-4BEF-B6EE-46680A52C501}" dt="2022-09-21T14:13:28.656" v="644" actId="1076"/>
          <ac:picMkLst>
            <pc:docMk/>
            <pc:sldMk cId="1827504476" sldId="2134805339"/>
            <ac:picMk id="53" creationId="{8565F088-CC5F-DFB5-32AE-26EC3339D28C}"/>
          </ac:picMkLst>
        </pc:picChg>
        <pc:picChg chg="add mod ord modCrop">
          <ac:chgData name="Alex Powers" userId="ae4a1fc7-4395-46d3-b2f1-3b3c37036ad1" providerId="ADAL" clId="{CA276D41-AFC9-4BEF-B6EE-46680A52C501}" dt="2022-09-21T14:14:38.498" v="662" actId="1076"/>
          <ac:picMkLst>
            <pc:docMk/>
            <pc:sldMk cId="1827504476" sldId="2134805339"/>
            <ac:picMk id="64" creationId="{B153BEF5-B2C2-7032-9213-EF1F0E1452B0}"/>
          </ac:picMkLst>
        </pc:picChg>
      </pc:sldChg>
      <pc:sldChg chg="add del">
        <pc:chgData name="Alex Powers" userId="ae4a1fc7-4395-46d3-b2f1-3b3c37036ad1" providerId="ADAL" clId="{CA276D41-AFC9-4BEF-B6EE-46680A52C501}" dt="2022-09-21T17:56:51.800" v="796" actId="2696"/>
        <pc:sldMkLst>
          <pc:docMk/>
          <pc:sldMk cId="347856300" sldId="2134805340"/>
        </pc:sldMkLst>
      </pc:sldChg>
      <pc:sldChg chg="add">
        <pc:chgData name="Alex Powers" userId="ae4a1fc7-4395-46d3-b2f1-3b3c37036ad1" providerId="ADAL" clId="{CA276D41-AFC9-4BEF-B6EE-46680A52C501}" dt="2022-09-21T17:56:55.544" v="797"/>
        <pc:sldMkLst>
          <pc:docMk/>
          <pc:sldMk cId="1468355621" sldId="2134805340"/>
        </pc:sldMkLst>
      </pc:sldChg>
      <pc:sldChg chg="del mod modShow">
        <pc:chgData name="Alex Powers" userId="ae4a1fc7-4395-46d3-b2f1-3b3c37036ad1" providerId="ADAL" clId="{CA276D41-AFC9-4BEF-B6EE-46680A52C501}" dt="2022-09-21T17:56:01.790" v="786" actId="2696"/>
        <pc:sldMkLst>
          <pc:docMk/>
          <pc:sldMk cId="3770221328" sldId="2134805340"/>
        </pc:sldMkLst>
      </pc:sldChg>
      <pc:sldChg chg="add del">
        <pc:chgData name="Alex Powers" userId="ae4a1fc7-4395-46d3-b2f1-3b3c37036ad1" providerId="ADAL" clId="{CA276D41-AFC9-4BEF-B6EE-46680A52C501}" dt="2022-09-21T17:56:13.495" v="788"/>
        <pc:sldMkLst>
          <pc:docMk/>
          <pc:sldMk cId="4182010785" sldId="2134805340"/>
        </pc:sldMkLst>
      </pc:sldChg>
      <pc:sldChg chg="modTransition modAnim">
        <pc:chgData name="Alex Powers" userId="ae4a1fc7-4395-46d3-b2f1-3b3c37036ad1" providerId="ADAL" clId="{CA276D41-AFC9-4BEF-B6EE-46680A52C501}" dt="2022-09-21T14:31:30.053" v="690"/>
        <pc:sldMkLst>
          <pc:docMk/>
          <pc:sldMk cId="4223309298" sldId="2134805351"/>
        </pc:sldMkLst>
      </pc:sldChg>
      <pc:sldChg chg="modAnim">
        <pc:chgData name="Alex Powers" userId="ae4a1fc7-4395-46d3-b2f1-3b3c37036ad1" providerId="ADAL" clId="{CA276D41-AFC9-4BEF-B6EE-46680A52C501}" dt="2022-09-21T14:32:14.905" v="693"/>
        <pc:sldMkLst>
          <pc:docMk/>
          <pc:sldMk cId="2982386195" sldId="2134805356"/>
        </pc:sldMkLst>
      </pc:sldChg>
      <pc:sldChg chg="del mod modShow">
        <pc:chgData name="Alex Powers" userId="ae4a1fc7-4395-46d3-b2f1-3b3c37036ad1" providerId="ADAL" clId="{CA276D41-AFC9-4BEF-B6EE-46680A52C501}" dt="2022-09-21T17:59:18.922" v="834" actId="47"/>
        <pc:sldMkLst>
          <pc:docMk/>
          <pc:sldMk cId="2791368262" sldId="2134805372"/>
        </pc:sldMkLst>
      </pc:sldChg>
      <pc:sldChg chg="del mod modShow">
        <pc:chgData name="Alex Powers" userId="ae4a1fc7-4395-46d3-b2f1-3b3c37036ad1" providerId="ADAL" clId="{CA276D41-AFC9-4BEF-B6EE-46680A52C501}" dt="2022-09-21T17:59:18.922" v="834" actId="47"/>
        <pc:sldMkLst>
          <pc:docMk/>
          <pc:sldMk cId="1392026805" sldId="2134805373"/>
        </pc:sldMkLst>
      </pc:sldChg>
      <pc:sldChg chg="del mod modShow">
        <pc:chgData name="Alex Powers" userId="ae4a1fc7-4395-46d3-b2f1-3b3c37036ad1" providerId="ADAL" clId="{CA276D41-AFC9-4BEF-B6EE-46680A52C501}" dt="2022-09-21T17:59:18.922" v="834" actId="47"/>
        <pc:sldMkLst>
          <pc:docMk/>
          <pc:sldMk cId="1358884157" sldId="2134805374"/>
        </pc:sldMkLst>
      </pc:sldChg>
      <pc:sldChg chg="del mod modShow">
        <pc:chgData name="Alex Powers" userId="ae4a1fc7-4395-46d3-b2f1-3b3c37036ad1" providerId="ADAL" clId="{CA276D41-AFC9-4BEF-B6EE-46680A52C501}" dt="2022-09-21T17:59:18.922" v="834" actId="47"/>
        <pc:sldMkLst>
          <pc:docMk/>
          <pc:sldMk cId="1556597100" sldId="2134805375"/>
        </pc:sldMkLst>
      </pc:sldChg>
      <pc:sldChg chg="del mod modShow">
        <pc:chgData name="Alex Powers" userId="ae4a1fc7-4395-46d3-b2f1-3b3c37036ad1" providerId="ADAL" clId="{CA276D41-AFC9-4BEF-B6EE-46680A52C501}" dt="2022-09-21T17:59:18.922" v="834" actId="47"/>
        <pc:sldMkLst>
          <pc:docMk/>
          <pc:sldMk cId="2151115752" sldId="2134805376"/>
        </pc:sldMkLst>
      </pc:sldChg>
      <pc:sldChg chg="del mod modShow">
        <pc:chgData name="Alex Powers" userId="ae4a1fc7-4395-46d3-b2f1-3b3c37036ad1" providerId="ADAL" clId="{CA276D41-AFC9-4BEF-B6EE-46680A52C501}" dt="2022-09-21T17:59:18.922" v="834" actId="47"/>
        <pc:sldMkLst>
          <pc:docMk/>
          <pc:sldMk cId="1804451448" sldId="2134805377"/>
        </pc:sldMkLst>
      </pc:sldChg>
      <pc:sldChg chg="del mod modShow">
        <pc:chgData name="Alex Powers" userId="ae4a1fc7-4395-46d3-b2f1-3b3c37036ad1" providerId="ADAL" clId="{CA276D41-AFC9-4BEF-B6EE-46680A52C501}" dt="2022-09-21T17:59:18.922" v="834" actId="47"/>
        <pc:sldMkLst>
          <pc:docMk/>
          <pc:sldMk cId="527622054" sldId="2134805378"/>
        </pc:sldMkLst>
      </pc:sldChg>
      <pc:sldChg chg="add">
        <pc:chgData name="Alex Powers" userId="ae4a1fc7-4395-46d3-b2f1-3b3c37036ad1" providerId="ADAL" clId="{CA276D41-AFC9-4BEF-B6EE-46680A52C501}" dt="2022-09-21T17:58:57.874" v="833"/>
        <pc:sldMkLst>
          <pc:docMk/>
          <pc:sldMk cId="346123479" sldId="2134805380"/>
        </pc:sldMkLst>
      </pc:sldChg>
      <pc:sldChg chg="del">
        <pc:chgData name="Alex Powers" userId="ae4a1fc7-4395-46d3-b2f1-3b3c37036ad1" providerId="ADAL" clId="{CA276D41-AFC9-4BEF-B6EE-46680A52C501}" dt="2022-09-21T17:58:52.384" v="832" actId="2696"/>
        <pc:sldMkLst>
          <pc:docMk/>
          <pc:sldMk cId="3331753161" sldId="2134805380"/>
        </pc:sldMkLst>
      </pc:sldChg>
      <pc:sldChg chg="del">
        <pc:chgData name="Alex Powers" userId="ae4a1fc7-4395-46d3-b2f1-3b3c37036ad1" providerId="ADAL" clId="{CA276D41-AFC9-4BEF-B6EE-46680A52C501}" dt="2022-09-21T17:58:52.384" v="832" actId="2696"/>
        <pc:sldMkLst>
          <pc:docMk/>
          <pc:sldMk cId="213415237" sldId="2134805387"/>
        </pc:sldMkLst>
      </pc:sldChg>
      <pc:sldChg chg="add">
        <pc:chgData name="Alex Powers" userId="ae4a1fc7-4395-46d3-b2f1-3b3c37036ad1" providerId="ADAL" clId="{CA276D41-AFC9-4BEF-B6EE-46680A52C501}" dt="2022-09-21T17:58:57.874" v="833"/>
        <pc:sldMkLst>
          <pc:docMk/>
          <pc:sldMk cId="2487549369" sldId="2134805387"/>
        </pc:sldMkLst>
      </pc:sldChg>
      <pc:sldChg chg="modSp mod">
        <pc:chgData name="Alex Powers" userId="ae4a1fc7-4395-46d3-b2f1-3b3c37036ad1" providerId="ADAL" clId="{CA276D41-AFC9-4BEF-B6EE-46680A52C501}" dt="2022-09-21T13:10:01.299" v="463" actId="20577"/>
        <pc:sldMkLst>
          <pc:docMk/>
          <pc:sldMk cId="1661102681" sldId="2134805399"/>
        </pc:sldMkLst>
        <pc:spChg chg="mod">
          <ac:chgData name="Alex Powers" userId="ae4a1fc7-4395-46d3-b2f1-3b3c37036ad1" providerId="ADAL" clId="{CA276D41-AFC9-4BEF-B6EE-46680A52C501}" dt="2022-09-21T13:10:01.299" v="463" actId="20577"/>
          <ac:spMkLst>
            <pc:docMk/>
            <pc:sldMk cId="1661102681" sldId="2134805399"/>
            <ac:spMk id="7" creationId="{B8369A30-A814-46DD-ABF0-B1D8C1BF2832}"/>
          </ac:spMkLst>
        </pc:spChg>
      </pc:sldChg>
      <pc:sldChg chg="modSp mod">
        <pc:chgData name="Alex Powers" userId="ae4a1fc7-4395-46d3-b2f1-3b3c37036ad1" providerId="ADAL" clId="{CA276D41-AFC9-4BEF-B6EE-46680A52C501}" dt="2022-09-22T14:22:53.372" v="3102"/>
        <pc:sldMkLst>
          <pc:docMk/>
          <pc:sldMk cId="2631673961" sldId="2134805401"/>
        </pc:sldMkLst>
        <pc:spChg chg="mod">
          <ac:chgData name="Alex Powers" userId="ae4a1fc7-4395-46d3-b2f1-3b3c37036ad1" providerId="ADAL" clId="{CA276D41-AFC9-4BEF-B6EE-46680A52C501}" dt="2022-09-22T13:54:59.099" v="1123" actId="1035"/>
          <ac:spMkLst>
            <pc:docMk/>
            <pc:sldMk cId="2631673961" sldId="2134805401"/>
            <ac:spMk id="17" creationId="{64D19349-A129-4AC6-B403-E180872E6D32}"/>
          </ac:spMkLst>
        </pc:spChg>
        <pc:spChg chg="mod">
          <ac:chgData name="Alex Powers" userId="ae4a1fc7-4395-46d3-b2f1-3b3c37036ad1" providerId="ADAL" clId="{CA276D41-AFC9-4BEF-B6EE-46680A52C501}" dt="2022-09-22T13:52:10.220" v="1070" actId="20577"/>
          <ac:spMkLst>
            <pc:docMk/>
            <pc:sldMk cId="2631673961" sldId="2134805401"/>
            <ac:spMk id="21" creationId="{E53D5C8B-6F2E-4178-B677-619905D1D7EB}"/>
          </ac:spMkLst>
        </pc:spChg>
        <pc:spChg chg="mod">
          <ac:chgData name="Alex Powers" userId="ae4a1fc7-4395-46d3-b2f1-3b3c37036ad1" providerId="ADAL" clId="{CA276D41-AFC9-4BEF-B6EE-46680A52C501}" dt="2022-09-22T14:22:53.372" v="3102"/>
          <ac:spMkLst>
            <pc:docMk/>
            <pc:sldMk cId="2631673961" sldId="2134805401"/>
            <ac:spMk id="23" creationId="{60DEC337-7937-44F1-A919-721245D56CD1}"/>
          </ac:spMkLst>
        </pc:spChg>
        <pc:grpChg chg="mod">
          <ac:chgData name="Alex Powers" userId="ae4a1fc7-4395-46d3-b2f1-3b3c37036ad1" providerId="ADAL" clId="{CA276D41-AFC9-4BEF-B6EE-46680A52C501}" dt="2022-09-22T13:54:51.249" v="1109" actId="1076"/>
          <ac:grpSpMkLst>
            <pc:docMk/>
            <pc:sldMk cId="2631673961" sldId="2134805401"/>
            <ac:grpSpMk id="139" creationId="{78E1AD21-B1E1-4AFC-A797-6C906276B8B9}"/>
          </ac:grpSpMkLst>
        </pc:grpChg>
      </pc:sldChg>
      <pc:sldChg chg="modSp">
        <pc:chgData name="Alex Powers" userId="ae4a1fc7-4395-46d3-b2f1-3b3c37036ad1" providerId="ADAL" clId="{CA276D41-AFC9-4BEF-B6EE-46680A52C501}" dt="2022-09-21T12:44:48.882" v="5" actId="20577"/>
        <pc:sldMkLst>
          <pc:docMk/>
          <pc:sldMk cId="4206370663" sldId="2147469889"/>
        </pc:sldMkLst>
        <pc:spChg chg="mod">
          <ac:chgData name="Alex Powers" userId="ae4a1fc7-4395-46d3-b2f1-3b3c37036ad1" providerId="ADAL" clId="{CA276D41-AFC9-4BEF-B6EE-46680A52C501}" dt="2022-09-21T12:44:48.882" v="5" actId="20577"/>
          <ac:spMkLst>
            <pc:docMk/>
            <pc:sldMk cId="4206370663" sldId="2147469889"/>
            <ac:spMk id="4" creationId="{2BA66311-60F0-7F41-AFFC-679A90C63D53}"/>
          </ac:spMkLst>
        </pc:spChg>
      </pc:sldChg>
      <pc:sldChg chg="modSp del mod">
        <pc:chgData name="Alex Powers" userId="ae4a1fc7-4395-46d3-b2f1-3b3c37036ad1" providerId="ADAL" clId="{CA276D41-AFC9-4BEF-B6EE-46680A52C501}" dt="2022-09-22T15:20:13.164" v="5359" actId="47"/>
        <pc:sldMkLst>
          <pc:docMk/>
          <pc:sldMk cId="961617863" sldId="2147469894"/>
        </pc:sldMkLst>
        <pc:spChg chg="mod">
          <ac:chgData name="Alex Powers" userId="ae4a1fc7-4395-46d3-b2f1-3b3c37036ad1" providerId="ADAL" clId="{CA276D41-AFC9-4BEF-B6EE-46680A52C501}" dt="2022-09-21T20:22:28.340" v="1053" actId="20577"/>
          <ac:spMkLst>
            <pc:docMk/>
            <pc:sldMk cId="961617863" sldId="2147469894"/>
            <ac:spMk id="7" creationId="{B8369A30-A814-46DD-ABF0-B1D8C1BF2832}"/>
          </ac:spMkLst>
        </pc:spChg>
      </pc:sldChg>
      <pc:sldChg chg="modSp add del mod">
        <pc:chgData name="Alex Powers" userId="ae4a1fc7-4395-46d3-b2f1-3b3c37036ad1" providerId="ADAL" clId="{CA276D41-AFC9-4BEF-B6EE-46680A52C501}" dt="2022-09-22T15:18:26.014" v="5345" actId="47"/>
        <pc:sldMkLst>
          <pc:docMk/>
          <pc:sldMk cId="735807938" sldId="2147469896"/>
        </pc:sldMkLst>
        <pc:spChg chg="mod">
          <ac:chgData name="Alex Powers" userId="ae4a1fc7-4395-46d3-b2f1-3b3c37036ad1" providerId="ADAL" clId="{CA276D41-AFC9-4BEF-B6EE-46680A52C501}" dt="2022-09-22T15:13:25.855" v="5245" actId="21"/>
          <ac:spMkLst>
            <pc:docMk/>
            <pc:sldMk cId="735807938" sldId="2147469896"/>
            <ac:spMk id="2" creationId="{4BEDC80E-304E-4653-AE93-151A1465E98B}"/>
          </ac:spMkLst>
        </pc:spChg>
      </pc:sldChg>
      <pc:sldChg chg="add del">
        <pc:chgData name="Alex Powers" userId="ae4a1fc7-4395-46d3-b2f1-3b3c37036ad1" providerId="ADAL" clId="{CA276D41-AFC9-4BEF-B6EE-46680A52C501}" dt="2022-09-21T17:56:13.495" v="788"/>
        <pc:sldMkLst>
          <pc:docMk/>
          <pc:sldMk cId="1342595399" sldId="2147469896"/>
        </pc:sldMkLst>
      </pc:sldChg>
      <pc:sldChg chg="add del">
        <pc:chgData name="Alex Powers" userId="ae4a1fc7-4395-46d3-b2f1-3b3c37036ad1" providerId="ADAL" clId="{CA276D41-AFC9-4BEF-B6EE-46680A52C501}" dt="2022-09-21T20:21:20.476" v="1021" actId="2696"/>
        <pc:sldMkLst>
          <pc:docMk/>
          <pc:sldMk cId="2763859989" sldId="2147469896"/>
        </pc:sldMkLst>
      </pc:sldChg>
      <pc:sldChg chg="del">
        <pc:chgData name="Alex Powers" userId="ae4a1fc7-4395-46d3-b2f1-3b3c37036ad1" providerId="ADAL" clId="{CA276D41-AFC9-4BEF-B6EE-46680A52C501}" dt="2022-09-21T17:56:01.790" v="786" actId="2696"/>
        <pc:sldMkLst>
          <pc:docMk/>
          <pc:sldMk cId="3840406333" sldId="2147469896"/>
        </pc:sldMkLst>
      </pc:sldChg>
      <pc:sldChg chg="add">
        <pc:chgData name="Alex Powers" userId="ae4a1fc7-4395-46d3-b2f1-3b3c37036ad1" providerId="ADAL" clId="{CA276D41-AFC9-4BEF-B6EE-46680A52C501}" dt="2022-09-21T17:58:57.874" v="833"/>
        <pc:sldMkLst>
          <pc:docMk/>
          <pc:sldMk cId="2170934217" sldId="2147469898"/>
        </pc:sldMkLst>
      </pc:sldChg>
      <pc:sldChg chg="del">
        <pc:chgData name="Alex Powers" userId="ae4a1fc7-4395-46d3-b2f1-3b3c37036ad1" providerId="ADAL" clId="{CA276D41-AFC9-4BEF-B6EE-46680A52C501}" dt="2022-09-21T17:58:52.384" v="832" actId="2696"/>
        <pc:sldMkLst>
          <pc:docMk/>
          <pc:sldMk cId="2399305992" sldId="2147469898"/>
        </pc:sldMkLst>
      </pc:sldChg>
      <pc:sldChg chg="ord">
        <pc:chgData name="Alex Powers" userId="ae4a1fc7-4395-46d3-b2f1-3b3c37036ad1" providerId="ADAL" clId="{CA276D41-AFC9-4BEF-B6EE-46680A52C501}" dt="2022-09-21T17:40:00.043" v="761"/>
        <pc:sldMkLst>
          <pc:docMk/>
          <pc:sldMk cId="712941580" sldId="2147469902"/>
        </pc:sldMkLst>
      </pc:sldChg>
      <pc:sldChg chg="modSp mod">
        <pc:chgData name="Alex Powers" userId="ae4a1fc7-4395-46d3-b2f1-3b3c37036ad1" providerId="ADAL" clId="{CA276D41-AFC9-4BEF-B6EE-46680A52C501}" dt="2022-09-21T17:25:03.462" v="747" actId="5793"/>
        <pc:sldMkLst>
          <pc:docMk/>
          <pc:sldMk cId="1496469467" sldId="2147469903"/>
        </pc:sldMkLst>
        <pc:spChg chg="mod">
          <ac:chgData name="Alex Powers" userId="ae4a1fc7-4395-46d3-b2f1-3b3c37036ad1" providerId="ADAL" clId="{CA276D41-AFC9-4BEF-B6EE-46680A52C501}" dt="2022-09-21T17:25:03.462" v="747" actId="5793"/>
          <ac:spMkLst>
            <pc:docMk/>
            <pc:sldMk cId="1496469467" sldId="2147469903"/>
            <ac:spMk id="15" creationId="{86A6193E-2B4C-463B-85D2-5F86D7866537}"/>
          </ac:spMkLst>
        </pc:spChg>
      </pc:sldChg>
      <pc:sldChg chg="addSp delSp modSp mod modNotesTx">
        <pc:chgData name="Alex Powers" userId="ae4a1fc7-4395-46d3-b2f1-3b3c37036ad1" providerId="ADAL" clId="{CA276D41-AFC9-4BEF-B6EE-46680A52C501}" dt="2022-09-22T14:16:37.250" v="2671" actId="478"/>
        <pc:sldMkLst>
          <pc:docMk/>
          <pc:sldMk cId="2306054761" sldId="2147469912"/>
        </pc:sldMkLst>
        <pc:spChg chg="add del mod">
          <ac:chgData name="Alex Powers" userId="ae4a1fc7-4395-46d3-b2f1-3b3c37036ad1" providerId="ADAL" clId="{CA276D41-AFC9-4BEF-B6EE-46680A52C501}" dt="2022-09-22T14:16:37.250" v="2671" actId="478"/>
          <ac:spMkLst>
            <pc:docMk/>
            <pc:sldMk cId="2306054761" sldId="2147469912"/>
            <ac:spMk id="8" creationId="{EBC11F44-05F1-C9E2-53FE-8F9F4F9EA53B}"/>
          </ac:spMkLst>
        </pc:spChg>
        <pc:spChg chg="mod">
          <ac:chgData name="Alex Powers" userId="ae4a1fc7-4395-46d3-b2f1-3b3c37036ad1" providerId="ADAL" clId="{CA276D41-AFC9-4BEF-B6EE-46680A52C501}" dt="2022-09-21T20:15:42.099" v="957" actId="1076"/>
          <ac:spMkLst>
            <pc:docMk/>
            <pc:sldMk cId="2306054761" sldId="2147469912"/>
            <ac:spMk id="9" creationId="{9EDAAD71-59F0-47EB-A15F-ED5FDCDB2D68}"/>
          </ac:spMkLst>
        </pc:spChg>
        <pc:grpChg chg="mod">
          <ac:chgData name="Alex Powers" userId="ae4a1fc7-4395-46d3-b2f1-3b3c37036ad1" providerId="ADAL" clId="{CA276D41-AFC9-4BEF-B6EE-46680A52C501}" dt="2022-09-21T20:15:42.099" v="957" actId="1076"/>
          <ac:grpSpMkLst>
            <pc:docMk/>
            <pc:sldMk cId="2306054761" sldId="2147469912"/>
            <ac:grpSpMk id="10" creationId="{DB109C48-152A-4DD3-8A78-FA711538DE1B}"/>
          </ac:grpSpMkLst>
        </pc:grpChg>
        <pc:picChg chg="mod">
          <ac:chgData name="Alex Powers" userId="ae4a1fc7-4395-46d3-b2f1-3b3c37036ad1" providerId="ADAL" clId="{CA276D41-AFC9-4BEF-B6EE-46680A52C501}" dt="2022-09-21T20:15:42.099" v="957" actId="1076"/>
          <ac:picMkLst>
            <pc:docMk/>
            <pc:sldMk cId="2306054761" sldId="2147469912"/>
            <ac:picMk id="6" creationId="{34434C73-DDEB-4036-B9A7-7A9B00F88D75}"/>
          </ac:picMkLst>
        </pc:picChg>
        <pc:picChg chg="add del mod">
          <ac:chgData name="Alex Powers" userId="ae4a1fc7-4395-46d3-b2f1-3b3c37036ad1" providerId="ADAL" clId="{CA276D41-AFC9-4BEF-B6EE-46680A52C501}" dt="2022-09-22T14:16:33.945" v="2670" actId="478"/>
          <ac:picMkLst>
            <pc:docMk/>
            <pc:sldMk cId="2306054761" sldId="2147469912"/>
            <ac:picMk id="7" creationId="{1B2AAE96-4716-0EDC-6EEF-A389B69A55FB}"/>
          </ac:picMkLst>
        </pc:picChg>
      </pc:sldChg>
      <pc:sldChg chg="delSp modSp mod">
        <pc:chgData name="Alex Powers" userId="ae4a1fc7-4395-46d3-b2f1-3b3c37036ad1" providerId="ADAL" clId="{CA276D41-AFC9-4BEF-B6EE-46680A52C501}" dt="2022-09-21T14:30:41.208" v="674" actId="478"/>
        <pc:sldMkLst>
          <pc:docMk/>
          <pc:sldMk cId="749599461" sldId="2147469916"/>
        </pc:sldMkLst>
        <pc:spChg chg="mod">
          <ac:chgData name="Alex Powers" userId="ae4a1fc7-4395-46d3-b2f1-3b3c37036ad1" providerId="ADAL" clId="{CA276D41-AFC9-4BEF-B6EE-46680A52C501}" dt="2022-09-21T14:30:29.098" v="673" actId="20577"/>
          <ac:spMkLst>
            <pc:docMk/>
            <pc:sldMk cId="749599461" sldId="2147469916"/>
            <ac:spMk id="6" creationId="{ACA0514C-E1EC-4C45-A770-147BC7DAEBF7}"/>
          </ac:spMkLst>
        </pc:spChg>
        <pc:spChg chg="del">
          <ac:chgData name="Alex Powers" userId="ae4a1fc7-4395-46d3-b2f1-3b3c37036ad1" providerId="ADAL" clId="{CA276D41-AFC9-4BEF-B6EE-46680A52C501}" dt="2022-09-21T14:30:41.208" v="674" actId="478"/>
          <ac:spMkLst>
            <pc:docMk/>
            <pc:sldMk cId="749599461" sldId="2147469916"/>
            <ac:spMk id="8" creationId="{1CA714EF-26F6-4959-AFF5-A6EE5BA38B90}"/>
          </ac:spMkLst>
        </pc:spChg>
      </pc:sldChg>
      <pc:sldChg chg="addSp delSp modSp mod delAnim modAnim">
        <pc:chgData name="Alex Powers" userId="ae4a1fc7-4395-46d3-b2f1-3b3c37036ad1" providerId="ADAL" clId="{CA276D41-AFC9-4BEF-B6EE-46680A52C501}" dt="2022-09-21T13:06:26.713" v="231" actId="255"/>
        <pc:sldMkLst>
          <pc:docMk/>
          <pc:sldMk cId="1624631161" sldId="2147469920"/>
        </pc:sldMkLst>
        <pc:spChg chg="add mod">
          <ac:chgData name="Alex Powers" userId="ae4a1fc7-4395-46d3-b2f1-3b3c37036ad1" providerId="ADAL" clId="{CA276D41-AFC9-4BEF-B6EE-46680A52C501}" dt="2022-09-21T12:55:17.562" v="49"/>
          <ac:spMkLst>
            <pc:docMk/>
            <pc:sldMk cId="1624631161" sldId="2147469920"/>
            <ac:spMk id="5" creationId="{05E330C4-F1DE-71DE-4952-E0D1B5DFF0D5}"/>
          </ac:spMkLst>
        </pc:spChg>
        <pc:spChg chg="add mod">
          <ac:chgData name="Alex Powers" userId="ae4a1fc7-4395-46d3-b2f1-3b3c37036ad1" providerId="ADAL" clId="{CA276D41-AFC9-4BEF-B6EE-46680A52C501}" dt="2022-09-21T12:55:17.562" v="49"/>
          <ac:spMkLst>
            <pc:docMk/>
            <pc:sldMk cId="1624631161" sldId="2147469920"/>
            <ac:spMk id="6" creationId="{23073343-2BB2-0B4E-2A8D-E64838C10AE5}"/>
          </ac:spMkLst>
        </pc:spChg>
        <pc:spChg chg="del mod topLvl">
          <ac:chgData name="Alex Powers" userId="ae4a1fc7-4395-46d3-b2f1-3b3c37036ad1" providerId="ADAL" clId="{CA276D41-AFC9-4BEF-B6EE-46680A52C501}" dt="2022-09-21T12:55:56.312" v="54" actId="478"/>
          <ac:spMkLst>
            <pc:docMk/>
            <pc:sldMk cId="1624631161" sldId="2147469920"/>
            <ac:spMk id="9" creationId="{D41CD8EE-42FC-4CD0-F82C-3CE408FBED00}"/>
          </ac:spMkLst>
        </pc:spChg>
        <pc:spChg chg="del mod topLvl">
          <ac:chgData name="Alex Powers" userId="ae4a1fc7-4395-46d3-b2f1-3b3c37036ad1" providerId="ADAL" clId="{CA276D41-AFC9-4BEF-B6EE-46680A52C501}" dt="2022-09-21T12:55:54.397" v="53" actId="478"/>
          <ac:spMkLst>
            <pc:docMk/>
            <pc:sldMk cId="1624631161" sldId="2147469920"/>
            <ac:spMk id="13" creationId="{63644999-0D69-2249-6AF9-02A6D58C5FBC}"/>
          </ac:spMkLst>
        </pc:spChg>
        <pc:spChg chg="mod">
          <ac:chgData name="Alex Powers" userId="ae4a1fc7-4395-46d3-b2f1-3b3c37036ad1" providerId="ADAL" clId="{CA276D41-AFC9-4BEF-B6EE-46680A52C501}" dt="2022-09-21T13:04:12.328" v="145"/>
          <ac:spMkLst>
            <pc:docMk/>
            <pc:sldMk cId="1624631161" sldId="2147469920"/>
            <ac:spMk id="17" creationId="{8136AF6F-9DC5-ED2A-6A9F-0A8937966801}"/>
          </ac:spMkLst>
        </pc:spChg>
        <pc:spChg chg="del mod">
          <ac:chgData name="Alex Powers" userId="ae4a1fc7-4395-46d3-b2f1-3b3c37036ad1" providerId="ADAL" clId="{CA276D41-AFC9-4BEF-B6EE-46680A52C501}" dt="2022-09-21T13:04:19.802" v="146" actId="478"/>
          <ac:spMkLst>
            <pc:docMk/>
            <pc:sldMk cId="1624631161" sldId="2147469920"/>
            <ac:spMk id="18" creationId="{96E57295-BC3E-D194-427C-2BDBAC78AA3F}"/>
          </ac:spMkLst>
        </pc:spChg>
        <pc:grpChg chg="add mod">
          <ac:chgData name="Alex Powers" userId="ae4a1fc7-4395-46d3-b2f1-3b3c37036ad1" providerId="ADAL" clId="{CA276D41-AFC9-4BEF-B6EE-46680A52C501}" dt="2022-09-21T12:55:17.562" v="49"/>
          <ac:grpSpMkLst>
            <pc:docMk/>
            <pc:sldMk cId="1624631161" sldId="2147469920"/>
            <ac:grpSpMk id="4" creationId="{68E0C597-E853-1FE7-63FB-93F9D70E1D27}"/>
          </ac:grpSpMkLst>
        </pc:grpChg>
        <pc:grpChg chg="add del mod">
          <ac:chgData name="Alex Powers" userId="ae4a1fc7-4395-46d3-b2f1-3b3c37036ad1" providerId="ADAL" clId="{CA276D41-AFC9-4BEF-B6EE-46680A52C501}" dt="2022-09-21T12:55:54.397" v="53" actId="478"/>
          <ac:grpSpMkLst>
            <pc:docMk/>
            <pc:sldMk cId="1624631161" sldId="2147469920"/>
            <ac:grpSpMk id="8" creationId="{95221E7C-8D94-397E-7B27-08B0D379F86B}"/>
          </ac:grpSpMkLst>
        </pc:grpChg>
        <pc:grpChg chg="add mod">
          <ac:chgData name="Alex Powers" userId="ae4a1fc7-4395-46d3-b2f1-3b3c37036ad1" providerId="ADAL" clId="{CA276D41-AFC9-4BEF-B6EE-46680A52C501}" dt="2022-09-21T13:04:28.270" v="149" actId="1076"/>
          <ac:grpSpMkLst>
            <pc:docMk/>
            <pc:sldMk cId="1624631161" sldId="2147469920"/>
            <ac:grpSpMk id="14" creationId="{11952C96-310E-CEFD-9CFE-6C2F1F9B0E2B}"/>
          </ac:grpSpMkLst>
        </pc:grpChg>
        <pc:grpChg chg="del mod">
          <ac:chgData name="Alex Powers" userId="ae4a1fc7-4395-46d3-b2f1-3b3c37036ad1" providerId="ADAL" clId="{CA276D41-AFC9-4BEF-B6EE-46680A52C501}" dt="2022-09-21T13:04:19.802" v="146" actId="478"/>
          <ac:grpSpMkLst>
            <pc:docMk/>
            <pc:sldMk cId="1624631161" sldId="2147469920"/>
            <ac:grpSpMk id="16" creationId="{52ACBED0-2CB5-2B0F-7E22-498B41236602}"/>
          </ac:grpSpMkLst>
        </pc:grpChg>
        <pc:graphicFrameChg chg="add del mod">
          <ac:chgData name="Alex Powers" userId="ae4a1fc7-4395-46d3-b2f1-3b3c37036ad1" providerId="ADAL" clId="{CA276D41-AFC9-4BEF-B6EE-46680A52C501}" dt="2022-09-21T13:04:24.611" v="147" actId="478"/>
          <ac:graphicFrameMkLst>
            <pc:docMk/>
            <pc:sldMk cId="1624631161" sldId="2147469920"/>
            <ac:graphicFrameMk id="7" creationId="{DD514C14-4D57-8C9E-BAC2-3DE490264AD4}"/>
          </ac:graphicFrameMkLst>
        </pc:graphicFrameChg>
        <pc:graphicFrameChg chg="add del mod">
          <ac:chgData name="Alex Powers" userId="ae4a1fc7-4395-46d3-b2f1-3b3c37036ad1" providerId="ADAL" clId="{CA276D41-AFC9-4BEF-B6EE-46680A52C501}" dt="2022-09-21T12:55:34.817" v="52" actId="478"/>
          <ac:graphicFrameMkLst>
            <pc:docMk/>
            <pc:sldMk cId="1624631161" sldId="2147469920"/>
            <ac:graphicFrameMk id="10" creationId="{3BAA95FF-C8EC-437C-9FC4-0AA3DA18D6B2}"/>
          </ac:graphicFrameMkLst>
        </pc:graphicFrameChg>
        <pc:graphicFrameChg chg="mod modGraphic">
          <ac:chgData name="Alex Powers" userId="ae4a1fc7-4395-46d3-b2f1-3b3c37036ad1" providerId="ADAL" clId="{CA276D41-AFC9-4BEF-B6EE-46680A52C501}" dt="2022-09-21T13:06:26.713" v="231" actId="255"/>
          <ac:graphicFrameMkLst>
            <pc:docMk/>
            <pc:sldMk cId="1624631161" sldId="2147469920"/>
            <ac:graphicFrameMk id="15" creationId="{2C5690BC-FACB-3733-E199-C3FC0F11D9E6}"/>
          </ac:graphicFrameMkLst>
        </pc:graphicFrameChg>
      </pc:sldChg>
      <pc:sldChg chg="addSp delSp modSp del mod">
        <pc:chgData name="Alex Powers" userId="ae4a1fc7-4395-46d3-b2f1-3b3c37036ad1" providerId="ADAL" clId="{CA276D41-AFC9-4BEF-B6EE-46680A52C501}" dt="2022-09-21T13:04:04.317" v="144" actId="47"/>
        <pc:sldMkLst>
          <pc:docMk/>
          <pc:sldMk cId="2012810716" sldId="2147469921"/>
        </pc:sldMkLst>
        <pc:spChg chg="mod">
          <ac:chgData name="Alex Powers" userId="ae4a1fc7-4395-46d3-b2f1-3b3c37036ad1" providerId="ADAL" clId="{CA276D41-AFC9-4BEF-B6EE-46680A52C501}" dt="2022-09-21T13:03:02.149" v="131" actId="14100"/>
          <ac:spMkLst>
            <pc:docMk/>
            <pc:sldMk cId="2012810716" sldId="2147469921"/>
            <ac:spMk id="3" creationId="{FCE6285D-7541-4859-AA62-FA584FAB1695}"/>
          </ac:spMkLst>
        </pc:spChg>
        <pc:spChg chg="add mod">
          <ac:chgData name="Alex Powers" userId="ae4a1fc7-4395-46d3-b2f1-3b3c37036ad1" providerId="ADAL" clId="{CA276D41-AFC9-4BEF-B6EE-46680A52C501}" dt="2022-09-21T13:02:15.315" v="98"/>
          <ac:spMkLst>
            <pc:docMk/>
            <pc:sldMk cId="2012810716" sldId="2147469921"/>
            <ac:spMk id="16" creationId="{92830961-0868-E843-A9DB-A7DE246B25D9}"/>
          </ac:spMkLst>
        </pc:spChg>
        <pc:spChg chg="add mod">
          <ac:chgData name="Alex Powers" userId="ae4a1fc7-4395-46d3-b2f1-3b3c37036ad1" providerId="ADAL" clId="{CA276D41-AFC9-4BEF-B6EE-46680A52C501}" dt="2022-09-21T13:02:15.315" v="98"/>
          <ac:spMkLst>
            <pc:docMk/>
            <pc:sldMk cId="2012810716" sldId="2147469921"/>
            <ac:spMk id="17" creationId="{FC3B5CB0-8FDE-C874-BA5E-1A42584EACC0}"/>
          </ac:spMkLst>
        </pc:spChg>
        <pc:spChg chg="add del">
          <ac:chgData name="Alex Powers" userId="ae4a1fc7-4395-46d3-b2f1-3b3c37036ad1" providerId="ADAL" clId="{CA276D41-AFC9-4BEF-B6EE-46680A52C501}" dt="2022-09-21T13:03:56.056" v="143" actId="22"/>
          <ac:spMkLst>
            <pc:docMk/>
            <pc:sldMk cId="2012810716" sldId="2147469921"/>
            <ac:spMk id="22" creationId="{496F64E3-C6EE-B42F-A63C-3D3873E53A1B}"/>
          </ac:spMkLst>
        </pc:spChg>
        <pc:spChg chg="mod">
          <ac:chgData name="Alex Powers" userId="ae4a1fc7-4395-46d3-b2f1-3b3c37036ad1" providerId="ADAL" clId="{CA276D41-AFC9-4BEF-B6EE-46680A52C501}" dt="2022-09-21T13:03:34.758" v="135"/>
          <ac:spMkLst>
            <pc:docMk/>
            <pc:sldMk cId="2012810716" sldId="2147469921"/>
            <ac:spMk id="26" creationId="{AA0BBA0E-FCEA-B1FC-18D3-C3C6B597D602}"/>
          </ac:spMkLst>
        </pc:spChg>
        <pc:spChg chg="mod">
          <ac:chgData name="Alex Powers" userId="ae4a1fc7-4395-46d3-b2f1-3b3c37036ad1" providerId="ADAL" clId="{CA276D41-AFC9-4BEF-B6EE-46680A52C501}" dt="2022-09-21T13:03:34.758" v="135"/>
          <ac:spMkLst>
            <pc:docMk/>
            <pc:sldMk cId="2012810716" sldId="2147469921"/>
            <ac:spMk id="27" creationId="{2452B247-7E39-7E15-13C4-6074EA10166E}"/>
          </ac:spMkLst>
        </pc:spChg>
        <pc:grpChg chg="add del mod">
          <ac:chgData name="Alex Powers" userId="ae4a1fc7-4395-46d3-b2f1-3b3c37036ad1" providerId="ADAL" clId="{CA276D41-AFC9-4BEF-B6EE-46680A52C501}" dt="2022-09-21T13:02:07.756" v="96" actId="478"/>
          <ac:grpSpMkLst>
            <pc:docMk/>
            <pc:sldMk cId="2012810716" sldId="2147469921"/>
            <ac:grpSpMk id="7" creationId="{3978680E-9725-4756-9EAA-DE22E173E35E}"/>
          </ac:grpSpMkLst>
        </pc:grpChg>
        <pc:grpChg chg="add mod">
          <ac:chgData name="Alex Powers" userId="ae4a1fc7-4395-46d3-b2f1-3b3c37036ad1" providerId="ADAL" clId="{CA276D41-AFC9-4BEF-B6EE-46680A52C501}" dt="2022-09-21T13:02:15.315" v="98"/>
          <ac:grpSpMkLst>
            <pc:docMk/>
            <pc:sldMk cId="2012810716" sldId="2147469921"/>
            <ac:grpSpMk id="14" creationId="{B67C8B6B-B81F-A859-DF50-E74BCBD7CB5D}"/>
          </ac:grpSpMkLst>
        </pc:grpChg>
        <pc:grpChg chg="add del mod ord">
          <ac:chgData name="Alex Powers" userId="ae4a1fc7-4395-46d3-b2f1-3b3c37036ad1" providerId="ADAL" clId="{CA276D41-AFC9-4BEF-B6EE-46680A52C501}" dt="2022-09-21T13:03:54.896" v="142"/>
          <ac:grpSpMkLst>
            <pc:docMk/>
            <pc:sldMk cId="2012810716" sldId="2147469921"/>
            <ac:grpSpMk id="23" creationId="{21497957-DA0D-6B32-0328-7BF951AC1F3B}"/>
          </ac:grpSpMkLst>
        </pc:grpChg>
        <pc:grpChg chg="mod topLvl">
          <ac:chgData name="Alex Powers" userId="ae4a1fc7-4395-46d3-b2f1-3b3c37036ad1" providerId="ADAL" clId="{CA276D41-AFC9-4BEF-B6EE-46680A52C501}" dt="2022-09-21T13:03:50.897" v="140" actId="478"/>
          <ac:grpSpMkLst>
            <pc:docMk/>
            <pc:sldMk cId="2012810716" sldId="2147469921"/>
            <ac:grpSpMk id="25" creationId="{54E27AA0-F91E-49CD-6A26-7343AF371357}"/>
          </ac:grpSpMkLst>
        </pc:grpChg>
        <pc:graphicFrameChg chg="add del mod ord">
          <ac:chgData name="Alex Powers" userId="ae4a1fc7-4395-46d3-b2f1-3b3c37036ad1" providerId="ADAL" clId="{CA276D41-AFC9-4BEF-B6EE-46680A52C501}" dt="2022-09-21T13:01:56.702" v="93" actId="22"/>
          <ac:graphicFrameMkLst>
            <pc:docMk/>
            <pc:sldMk cId="2012810716" sldId="2147469921"/>
            <ac:graphicFrameMk id="10" creationId="{037E0C53-B19A-0FB9-4A8A-5F52B57DE8BA}"/>
          </ac:graphicFrameMkLst>
        </pc:graphicFrameChg>
        <pc:graphicFrameChg chg="add mod ord">
          <ac:chgData name="Alex Powers" userId="ae4a1fc7-4395-46d3-b2f1-3b3c37036ad1" providerId="ADAL" clId="{CA276D41-AFC9-4BEF-B6EE-46680A52C501}" dt="2022-09-21T13:03:16.459" v="134" actId="20577"/>
          <ac:graphicFrameMkLst>
            <pc:docMk/>
            <pc:sldMk cId="2012810716" sldId="2147469921"/>
            <ac:graphicFrameMk id="19" creationId="{D3B473F6-E66F-FD0F-C021-A8DE90D76088}"/>
          </ac:graphicFrameMkLst>
        </pc:graphicFrameChg>
        <pc:graphicFrameChg chg="add del mod topLvl">
          <ac:chgData name="Alex Powers" userId="ae4a1fc7-4395-46d3-b2f1-3b3c37036ad1" providerId="ADAL" clId="{CA276D41-AFC9-4BEF-B6EE-46680A52C501}" dt="2022-09-21T13:03:50.897" v="140" actId="478"/>
          <ac:graphicFrameMkLst>
            <pc:docMk/>
            <pc:sldMk cId="2012810716" sldId="2147469921"/>
            <ac:graphicFrameMk id="24" creationId="{FC4D5457-4376-8B35-69DA-1AF785102F69}"/>
          </ac:graphicFrameMkLst>
        </pc:graphicFrameChg>
      </pc:sldChg>
      <pc:sldChg chg="modSp mod">
        <pc:chgData name="Alex Powers" userId="ae4a1fc7-4395-46d3-b2f1-3b3c37036ad1" providerId="ADAL" clId="{CA276D41-AFC9-4BEF-B6EE-46680A52C501}" dt="2022-09-22T15:14:57.214" v="5303" actId="20577"/>
        <pc:sldMkLst>
          <pc:docMk/>
          <pc:sldMk cId="3668029706" sldId="2147469924"/>
        </pc:sldMkLst>
        <pc:spChg chg="mod">
          <ac:chgData name="Alex Powers" userId="ae4a1fc7-4395-46d3-b2f1-3b3c37036ad1" providerId="ADAL" clId="{CA276D41-AFC9-4BEF-B6EE-46680A52C501}" dt="2022-09-22T15:14:57.214" v="5303" actId="20577"/>
          <ac:spMkLst>
            <pc:docMk/>
            <pc:sldMk cId="3668029706" sldId="2147469924"/>
            <ac:spMk id="2" creationId="{4BEDC80E-304E-4653-AE93-151A1465E98B}"/>
          </ac:spMkLst>
        </pc:spChg>
      </pc:sldChg>
      <pc:sldChg chg="mod modShow">
        <pc:chgData name="Alex Powers" userId="ae4a1fc7-4395-46d3-b2f1-3b3c37036ad1" providerId="ADAL" clId="{CA276D41-AFC9-4BEF-B6EE-46680A52C501}" dt="2022-09-21T17:25:16.234" v="748" actId="729"/>
        <pc:sldMkLst>
          <pc:docMk/>
          <pc:sldMk cId="2112540459" sldId="2147469925"/>
        </pc:sldMkLst>
      </pc:sldChg>
      <pc:sldChg chg="mod modTransition modShow">
        <pc:chgData name="Alex Powers" userId="ae4a1fc7-4395-46d3-b2f1-3b3c37036ad1" providerId="ADAL" clId="{CA276D41-AFC9-4BEF-B6EE-46680A52C501}" dt="2022-09-21T17:27:26.892" v="750" actId="729"/>
        <pc:sldMkLst>
          <pc:docMk/>
          <pc:sldMk cId="227054782" sldId="2147469926"/>
        </pc:sldMkLst>
      </pc:sldChg>
      <pc:sldChg chg="del">
        <pc:chgData name="Alex Powers" userId="ae4a1fc7-4395-46d3-b2f1-3b3c37036ad1" providerId="ADAL" clId="{CA276D41-AFC9-4BEF-B6EE-46680A52C501}" dt="2022-09-22T15:20:06.435" v="5357" actId="47"/>
        <pc:sldMkLst>
          <pc:docMk/>
          <pc:sldMk cId="2159753941" sldId="2147469944"/>
        </pc:sldMkLst>
      </pc:sldChg>
      <pc:sldChg chg="del">
        <pc:chgData name="Alex Powers" userId="ae4a1fc7-4395-46d3-b2f1-3b3c37036ad1" providerId="ADAL" clId="{CA276D41-AFC9-4BEF-B6EE-46680A52C501}" dt="2022-09-22T15:20:09.399" v="5358" actId="47"/>
        <pc:sldMkLst>
          <pc:docMk/>
          <pc:sldMk cId="2747736574" sldId="2147469955"/>
        </pc:sldMkLst>
      </pc:sldChg>
      <pc:sldChg chg="add del">
        <pc:chgData name="Alex Powers" userId="ae4a1fc7-4395-46d3-b2f1-3b3c37036ad1" providerId="ADAL" clId="{CA276D41-AFC9-4BEF-B6EE-46680A52C501}" dt="2022-09-21T17:56:13.495" v="788"/>
        <pc:sldMkLst>
          <pc:docMk/>
          <pc:sldMk cId="304540777" sldId="2147469961"/>
        </pc:sldMkLst>
      </pc:sldChg>
      <pc:sldChg chg="add del">
        <pc:chgData name="Alex Powers" userId="ae4a1fc7-4395-46d3-b2f1-3b3c37036ad1" providerId="ADAL" clId="{CA276D41-AFC9-4BEF-B6EE-46680A52C501}" dt="2022-09-22T15:16:20.165" v="5308" actId="2696"/>
        <pc:sldMkLst>
          <pc:docMk/>
          <pc:sldMk cId="855569285" sldId="2147469961"/>
        </pc:sldMkLst>
      </pc:sldChg>
      <pc:sldChg chg="add del">
        <pc:chgData name="Alex Powers" userId="ae4a1fc7-4395-46d3-b2f1-3b3c37036ad1" providerId="ADAL" clId="{CA276D41-AFC9-4BEF-B6EE-46680A52C501}" dt="2022-09-22T15:15:28.830" v="5306" actId="2696"/>
        <pc:sldMkLst>
          <pc:docMk/>
          <pc:sldMk cId="1376247916" sldId="2147469961"/>
        </pc:sldMkLst>
      </pc:sldChg>
      <pc:sldChg chg="add">
        <pc:chgData name="Alex Powers" userId="ae4a1fc7-4395-46d3-b2f1-3b3c37036ad1" providerId="ADAL" clId="{CA276D41-AFC9-4BEF-B6EE-46680A52C501}" dt="2022-09-22T15:16:27.867" v="5309"/>
        <pc:sldMkLst>
          <pc:docMk/>
          <pc:sldMk cId="1605086997" sldId="2147469961"/>
        </pc:sldMkLst>
      </pc:sldChg>
      <pc:sldChg chg="add del">
        <pc:chgData name="Alex Powers" userId="ae4a1fc7-4395-46d3-b2f1-3b3c37036ad1" providerId="ADAL" clId="{CA276D41-AFC9-4BEF-B6EE-46680A52C501}" dt="2022-09-21T20:21:20.476" v="1021" actId="2696"/>
        <pc:sldMkLst>
          <pc:docMk/>
          <pc:sldMk cId="2492008851" sldId="2147469961"/>
        </pc:sldMkLst>
      </pc:sldChg>
      <pc:sldChg chg="del">
        <pc:chgData name="Alex Powers" userId="ae4a1fc7-4395-46d3-b2f1-3b3c37036ad1" providerId="ADAL" clId="{CA276D41-AFC9-4BEF-B6EE-46680A52C501}" dt="2022-09-21T17:56:01.790" v="786" actId="2696"/>
        <pc:sldMkLst>
          <pc:docMk/>
          <pc:sldMk cId="3390366517" sldId="2147469961"/>
        </pc:sldMkLst>
      </pc:sldChg>
      <pc:sldChg chg="add del">
        <pc:chgData name="Alex Powers" userId="ae4a1fc7-4395-46d3-b2f1-3b3c37036ad1" providerId="ADAL" clId="{CA276D41-AFC9-4BEF-B6EE-46680A52C501}" dt="2022-09-21T17:56:13.495" v="788"/>
        <pc:sldMkLst>
          <pc:docMk/>
          <pc:sldMk cId="37219416" sldId="2147469962"/>
        </pc:sldMkLst>
      </pc:sldChg>
      <pc:sldChg chg="add del">
        <pc:chgData name="Alex Powers" userId="ae4a1fc7-4395-46d3-b2f1-3b3c37036ad1" providerId="ADAL" clId="{CA276D41-AFC9-4BEF-B6EE-46680A52C501}" dt="2022-09-22T15:15:28.830" v="5306" actId="2696"/>
        <pc:sldMkLst>
          <pc:docMk/>
          <pc:sldMk cId="162652409" sldId="2147469962"/>
        </pc:sldMkLst>
      </pc:sldChg>
      <pc:sldChg chg="add del">
        <pc:chgData name="Alex Powers" userId="ae4a1fc7-4395-46d3-b2f1-3b3c37036ad1" providerId="ADAL" clId="{CA276D41-AFC9-4BEF-B6EE-46680A52C501}" dt="2022-09-21T20:21:20.476" v="1021" actId="2696"/>
        <pc:sldMkLst>
          <pc:docMk/>
          <pc:sldMk cId="283564868" sldId="2147469962"/>
        </pc:sldMkLst>
      </pc:sldChg>
      <pc:sldChg chg="add del">
        <pc:chgData name="Alex Powers" userId="ae4a1fc7-4395-46d3-b2f1-3b3c37036ad1" providerId="ADAL" clId="{CA276D41-AFC9-4BEF-B6EE-46680A52C501}" dt="2022-09-22T15:16:20.165" v="5308" actId="2696"/>
        <pc:sldMkLst>
          <pc:docMk/>
          <pc:sldMk cId="430296161" sldId="2147469962"/>
        </pc:sldMkLst>
      </pc:sldChg>
      <pc:sldChg chg="del">
        <pc:chgData name="Alex Powers" userId="ae4a1fc7-4395-46d3-b2f1-3b3c37036ad1" providerId="ADAL" clId="{CA276D41-AFC9-4BEF-B6EE-46680A52C501}" dt="2022-09-21T17:56:01.790" v="786" actId="2696"/>
        <pc:sldMkLst>
          <pc:docMk/>
          <pc:sldMk cId="2411012035" sldId="2147469962"/>
        </pc:sldMkLst>
      </pc:sldChg>
      <pc:sldChg chg="addSp modSp add mod">
        <pc:chgData name="Alex Powers" userId="ae4a1fc7-4395-46d3-b2f1-3b3c37036ad1" providerId="ADAL" clId="{CA276D41-AFC9-4BEF-B6EE-46680A52C501}" dt="2022-09-22T15:18:12.673" v="5344" actId="14100"/>
        <pc:sldMkLst>
          <pc:docMk/>
          <pc:sldMk cId="3615317182" sldId="2147469962"/>
        </pc:sldMkLst>
        <pc:spChg chg="mod">
          <ac:chgData name="Alex Powers" userId="ae4a1fc7-4395-46d3-b2f1-3b3c37036ad1" providerId="ADAL" clId="{CA276D41-AFC9-4BEF-B6EE-46680A52C501}" dt="2022-09-22T15:17:48.084" v="5339" actId="14100"/>
          <ac:spMkLst>
            <pc:docMk/>
            <pc:sldMk cId="3615317182" sldId="2147469962"/>
            <ac:spMk id="2" creationId="{8EE97EF5-38AA-4A3B-8CE7-97EAA8F80FCF}"/>
          </ac:spMkLst>
        </pc:spChg>
        <pc:spChg chg="add mod">
          <ac:chgData name="Alex Powers" userId="ae4a1fc7-4395-46d3-b2f1-3b3c37036ad1" providerId="ADAL" clId="{CA276D41-AFC9-4BEF-B6EE-46680A52C501}" dt="2022-09-22T15:17:29.254" v="5323" actId="14100"/>
          <ac:spMkLst>
            <pc:docMk/>
            <pc:sldMk cId="3615317182" sldId="2147469962"/>
            <ac:spMk id="4" creationId="{015045CC-9A8C-C42B-629A-8665AE652264}"/>
          </ac:spMkLst>
        </pc:spChg>
        <pc:spChg chg="mod">
          <ac:chgData name="Alex Powers" userId="ae4a1fc7-4395-46d3-b2f1-3b3c37036ad1" providerId="ADAL" clId="{CA276D41-AFC9-4BEF-B6EE-46680A52C501}" dt="2022-09-22T15:18:12.673" v="5344" actId="14100"/>
          <ac:spMkLst>
            <pc:docMk/>
            <pc:sldMk cId="3615317182" sldId="2147469962"/>
            <ac:spMk id="6" creationId="{DF69F015-8CE5-4366-86AB-8CE8086EFF1A}"/>
          </ac:spMkLst>
        </pc:spChg>
        <pc:picChg chg="mod">
          <ac:chgData name="Alex Powers" userId="ae4a1fc7-4395-46d3-b2f1-3b3c37036ad1" providerId="ADAL" clId="{CA276D41-AFC9-4BEF-B6EE-46680A52C501}" dt="2022-09-22T15:17:10.849" v="5315" actId="1076"/>
          <ac:picMkLst>
            <pc:docMk/>
            <pc:sldMk cId="3615317182" sldId="2147469962"/>
            <ac:picMk id="5" creationId="{6B0E153C-D396-411A-8867-D58EA0933F1E}"/>
          </ac:picMkLst>
        </pc:picChg>
      </pc:sldChg>
      <pc:sldChg chg="del">
        <pc:chgData name="Alex Powers" userId="ae4a1fc7-4395-46d3-b2f1-3b3c37036ad1" providerId="ADAL" clId="{CA276D41-AFC9-4BEF-B6EE-46680A52C501}" dt="2022-09-21T17:56:01.790" v="786" actId="2696"/>
        <pc:sldMkLst>
          <pc:docMk/>
          <pc:sldMk cId="974734985" sldId="2147469963"/>
        </pc:sldMkLst>
      </pc:sldChg>
      <pc:sldChg chg="add del">
        <pc:chgData name="Alex Powers" userId="ae4a1fc7-4395-46d3-b2f1-3b3c37036ad1" providerId="ADAL" clId="{CA276D41-AFC9-4BEF-B6EE-46680A52C501}" dt="2022-09-21T17:56:13.495" v="788"/>
        <pc:sldMkLst>
          <pc:docMk/>
          <pc:sldMk cId="1515670225" sldId="2147469963"/>
        </pc:sldMkLst>
      </pc:sldChg>
      <pc:sldChg chg="add ord">
        <pc:chgData name="Alex Powers" userId="ae4a1fc7-4395-46d3-b2f1-3b3c37036ad1" providerId="ADAL" clId="{CA276D41-AFC9-4BEF-B6EE-46680A52C501}" dt="2022-09-21T20:20:05.948" v="1020"/>
        <pc:sldMkLst>
          <pc:docMk/>
          <pc:sldMk cId="2791043869" sldId="2147469963"/>
        </pc:sldMkLst>
      </pc:sldChg>
      <pc:sldChg chg="add">
        <pc:chgData name="Alex Powers" userId="ae4a1fc7-4395-46d3-b2f1-3b3c37036ad1" providerId="ADAL" clId="{CA276D41-AFC9-4BEF-B6EE-46680A52C501}" dt="2022-09-21T17:58:57.874" v="833"/>
        <pc:sldMkLst>
          <pc:docMk/>
          <pc:sldMk cId="88289558" sldId="2147469968"/>
        </pc:sldMkLst>
      </pc:sldChg>
      <pc:sldChg chg="del">
        <pc:chgData name="Alex Powers" userId="ae4a1fc7-4395-46d3-b2f1-3b3c37036ad1" providerId="ADAL" clId="{CA276D41-AFC9-4BEF-B6EE-46680A52C501}" dt="2022-09-21T17:58:52.384" v="832" actId="2696"/>
        <pc:sldMkLst>
          <pc:docMk/>
          <pc:sldMk cId="1681216240" sldId="2147469968"/>
        </pc:sldMkLst>
      </pc:sldChg>
      <pc:sldChg chg="del">
        <pc:chgData name="Alex Powers" userId="ae4a1fc7-4395-46d3-b2f1-3b3c37036ad1" providerId="ADAL" clId="{CA276D41-AFC9-4BEF-B6EE-46680A52C501}" dt="2022-09-21T17:58:52.384" v="832" actId="2696"/>
        <pc:sldMkLst>
          <pc:docMk/>
          <pc:sldMk cId="250733258" sldId="2147469969"/>
        </pc:sldMkLst>
      </pc:sldChg>
      <pc:sldChg chg="add">
        <pc:chgData name="Alex Powers" userId="ae4a1fc7-4395-46d3-b2f1-3b3c37036ad1" providerId="ADAL" clId="{CA276D41-AFC9-4BEF-B6EE-46680A52C501}" dt="2022-09-21T17:58:57.874" v="833"/>
        <pc:sldMkLst>
          <pc:docMk/>
          <pc:sldMk cId="2408342593" sldId="2147469969"/>
        </pc:sldMkLst>
      </pc:sldChg>
      <pc:sldChg chg="del mod modShow">
        <pc:chgData name="Alex Powers" userId="ae4a1fc7-4395-46d3-b2f1-3b3c37036ad1" providerId="ADAL" clId="{CA276D41-AFC9-4BEF-B6EE-46680A52C501}" dt="2022-09-21T17:56:01.790" v="786" actId="2696"/>
        <pc:sldMkLst>
          <pc:docMk/>
          <pc:sldMk cId="495822368" sldId="2147469972"/>
        </pc:sldMkLst>
      </pc:sldChg>
      <pc:sldChg chg="add del">
        <pc:chgData name="Alex Powers" userId="ae4a1fc7-4395-46d3-b2f1-3b3c37036ad1" providerId="ADAL" clId="{CA276D41-AFC9-4BEF-B6EE-46680A52C501}" dt="2022-09-21T17:56:51.800" v="796" actId="2696"/>
        <pc:sldMkLst>
          <pc:docMk/>
          <pc:sldMk cId="848442376" sldId="2147469972"/>
        </pc:sldMkLst>
      </pc:sldChg>
      <pc:sldChg chg="add del">
        <pc:chgData name="Alex Powers" userId="ae4a1fc7-4395-46d3-b2f1-3b3c37036ad1" providerId="ADAL" clId="{CA276D41-AFC9-4BEF-B6EE-46680A52C501}" dt="2022-09-21T17:56:13.495" v="788"/>
        <pc:sldMkLst>
          <pc:docMk/>
          <pc:sldMk cId="1498769623" sldId="2147469972"/>
        </pc:sldMkLst>
      </pc:sldChg>
      <pc:sldChg chg="add">
        <pc:chgData name="Alex Powers" userId="ae4a1fc7-4395-46d3-b2f1-3b3c37036ad1" providerId="ADAL" clId="{CA276D41-AFC9-4BEF-B6EE-46680A52C501}" dt="2022-09-21T17:56:55.544" v="797"/>
        <pc:sldMkLst>
          <pc:docMk/>
          <pc:sldMk cId="2513623041" sldId="2147469972"/>
        </pc:sldMkLst>
      </pc:sldChg>
      <pc:sldChg chg="del">
        <pc:chgData name="Alex Powers" userId="ae4a1fc7-4395-46d3-b2f1-3b3c37036ad1" providerId="ADAL" clId="{CA276D41-AFC9-4BEF-B6EE-46680A52C501}" dt="2022-09-21T17:49:48.811" v="763" actId="2696"/>
        <pc:sldMkLst>
          <pc:docMk/>
          <pc:sldMk cId="2431235446" sldId="2147469974"/>
        </pc:sldMkLst>
      </pc:sldChg>
      <pc:sldChg chg="add del">
        <pc:chgData name="Alex Powers" userId="ae4a1fc7-4395-46d3-b2f1-3b3c37036ad1" providerId="ADAL" clId="{CA276D41-AFC9-4BEF-B6EE-46680A52C501}" dt="2022-09-22T15:19:30.505" v="5353" actId="47"/>
        <pc:sldMkLst>
          <pc:docMk/>
          <pc:sldMk cId="4195060578" sldId="2147469974"/>
        </pc:sldMkLst>
      </pc:sldChg>
      <pc:sldChg chg="add">
        <pc:chgData name="Alex Powers" userId="ae4a1fc7-4395-46d3-b2f1-3b3c37036ad1" providerId="ADAL" clId="{CA276D41-AFC9-4BEF-B6EE-46680A52C501}" dt="2022-09-21T17:58:57.874" v="833"/>
        <pc:sldMkLst>
          <pc:docMk/>
          <pc:sldMk cId="409485467" sldId="2147469975"/>
        </pc:sldMkLst>
      </pc:sldChg>
      <pc:sldChg chg="del">
        <pc:chgData name="Alex Powers" userId="ae4a1fc7-4395-46d3-b2f1-3b3c37036ad1" providerId="ADAL" clId="{CA276D41-AFC9-4BEF-B6EE-46680A52C501}" dt="2022-09-21T17:58:52.384" v="832" actId="2696"/>
        <pc:sldMkLst>
          <pc:docMk/>
          <pc:sldMk cId="2829312780" sldId="2147469975"/>
        </pc:sldMkLst>
      </pc:sldChg>
      <pc:sldChg chg="mod modShow">
        <pc:chgData name="Alex Powers" userId="ae4a1fc7-4395-46d3-b2f1-3b3c37036ad1" providerId="ADAL" clId="{CA276D41-AFC9-4BEF-B6EE-46680A52C501}" dt="2022-09-21T18:00:06.597" v="837" actId="729"/>
        <pc:sldMkLst>
          <pc:docMk/>
          <pc:sldMk cId="1860000104" sldId="2147469978"/>
        </pc:sldMkLst>
      </pc:sldChg>
      <pc:sldChg chg="del">
        <pc:chgData name="Alex Powers" userId="ae4a1fc7-4395-46d3-b2f1-3b3c37036ad1" providerId="ADAL" clId="{CA276D41-AFC9-4BEF-B6EE-46680A52C501}" dt="2022-09-21T18:00:21.119" v="838" actId="2696"/>
        <pc:sldMkLst>
          <pc:docMk/>
          <pc:sldMk cId="309675713" sldId="2147469979"/>
        </pc:sldMkLst>
      </pc:sldChg>
      <pc:sldChg chg="add">
        <pc:chgData name="Alex Powers" userId="ae4a1fc7-4395-46d3-b2f1-3b3c37036ad1" providerId="ADAL" clId="{CA276D41-AFC9-4BEF-B6EE-46680A52C501}" dt="2022-09-21T18:00:27.263" v="839"/>
        <pc:sldMkLst>
          <pc:docMk/>
          <pc:sldMk cId="1646384809" sldId="2147469979"/>
        </pc:sldMkLst>
      </pc:sldChg>
      <pc:sldChg chg="add">
        <pc:chgData name="Alex Powers" userId="ae4a1fc7-4395-46d3-b2f1-3b3c37036ad1" providerId="ADAL" clId="{CA276D41-AFC9-4BEF-B6EE-46680A52C501}" dt="2022-09-22T15:16:27.867" v="5309"/>
        <pc:sldMkLst>
          <pc:docMk/>
          <pc:sldMk cId="590942111" sldId="2147469980"/>
        </pc:sldMkLst>
      </pc:sldChg>
      <pc:sldChg chg="add del">
        <pc:chgData name="Alex Powers" userId="ae4a1fc7-4395-46d3-b2f1-3b3c37036ad1" providerId="ADAL" clId="{CA276D41-AFC9-4BEF-B6EE-46680A52C501}" dt="2022-09-21T17:56:13.495" v="788"/>
        <pc:sldMkLst>
          <pc:docMk/>
          <pc:sldMk cId="609091890" sldId="2147469980"/>
        </pc:sldMkLst>
      </pc:sldChg>
      <pc:sldChg chg="add del">
        <pc:chgData name="Alex Powers" userId="ae4a1fc7-4395-46d3-b2f1-3b3c37036ad1" providerId="ADAL" clId="{CA276D41-AFC9-4BEF-B6EE-46680A52C501}" dt="2022-09-21T20:21:20.476" v="1021" actId="2696"/>
        <pc:sldMkLst>
          <pc:docMk/>
          <pc:sldMk cId="640485020" sldId="2147469980"/>
        </pc:sldMkLst>
      </pc:sldChg>
      <pc:sldChg chg="del">
        <pc:chgData name="Alex Powers" userId="ae4a1fc7-4395-46d3-b2f1-3b3c37036ad1" providerId="ADAL" clId="{CA276D41-AFC9-4BEF-B6EE-46680A52C501}" dt="2022-09-21T17:56:01.790" v="786" actId="2696"/>
        <pc:sldMkLst>
          <pc:docMk/>
          <pc:sldMk cId="1500576756" sldId="2147469980"/>
        </pc:sldMkLst>
      </pc:sldChg>
      <pc:sldChg chg="add del">
        <pc:chgData name="Alex Powers" userId="ae4a1fc7-4395-46d3-b2f1-3b3c37036ad1" providerId="ADAL" clId="{CA276D41-AFC9-4BEF-B6EE-46680A52C501}" dt="2022-09-22T15:15:28.830" v="5306" actId="2696"/>
        <pc:sldMkLst>
          <pc:docMk/>
          <pc:sldMk cId="2219463510" sldId="2147469980"/>
        </pc:sldMkLst>
      </pc:sldChg>
      <pc:sldChg chg="add del">
        <pc:chgData name="Alex Powers" userId="ae4a1fc7-4395-46d3-b2f1-3b3c37036ad1" providerId="ADAL" clId="{CA276D41-AFC9-4BEF-B6EE-46680A52C501}" dt="2022-09-22T15:16:20.165" v="5308" actId="2696"/>
        <pc:sldMkLst>
          <pc:docMk/>
          <pc:sldMk cId="4269760304" sldId="2147469980"/>
        </pc:sldMkLst>
      </pc:sldChg>
      <pc:sldChg chg="add">
        <pc:chgData name="Alex Powers" userId="ae4a1fc7-4395-46d3-b2f1-3b3c37036ad1" providerId="ADAL" clId="{CA276D41-AFC9-4BEF-B6EE-46680A52C501}" dt="2022-09-21T18:02:53.568" v="843"/>
        <pc:sldMkLst>
          <pc:docMk/>
          <pc:sldMk cId="126455273" sldId="2147469982"/>
        </pc:sldMkLst>
      </pc:sldChg>
      <pc:sldChg chg="modSp del mod">
        <pc:chgData name="Alex Powers" userId="ae4a1fc7-4395-46d3-b2f1-3b3c37036ad1" providerId="ADAL" clId="{CA276D41-AFC9-4BEF-B6EE-46680A52C501}" dt="2022-09-21T18:02:34.603" v="840" actId="2696"/>
        <pc:sldMkLst>
          <pc:docMk/>
          <pc:sldMk cId="570758012" sldId="2147469982"/>
        </pc:sldMkLst>
        <pc:spChg chg="mod">
          <ac:chgData name="Alex Powers" userId="ae4a1fc7-4395-46d3-b2f1-3b3c37036ad1" providerId="ADAL" clId="{CA276D41-AFC9-4BEF-B6EE-46680A52C501}" dt="2022-09-21T17:29:16.020" v="757" actId="14100"/>
          <ac:spMkLst>
            <pc:docMk/>
            <pc:sldMk cId="570758012" sldId="2147469982"/>
            <ac:spMk id="4" creationId="{9668475D-3E5E-42CC-B3E4-E83D54889211}"/>
          </ac:spMkLst>
        </pc:spChg>
      </pc:sldChg>
      <pc:sldChg chg="add del">
        <pc:chgData name="Alex Powers" userId="ae4a1fc7-4395-46d3-b2f1-3b3c37036ad1" providerId="ADAL" clId="{CA276D41-AFC9-4BEF-B6EE-46680A52C501}" dt="2022-09-21T18:02:51.147" v="842" actId="2696"/>
        <pc:sldMkLst>
          <pc:docMk/>
          <pc:sldMk cId="1983110775" sldId="2147469982"/>
        </pc:sldMkLst>
      </pc:sldChg>
      <pc:sldChg chg="del">
        <pc:chgData name="Alex Powers" userId="ae4a1fc7-4395-46d3-b2f1-3b3c37036ad1" providerId="ADAL" clId="{CA276D41-AFC9-4BEF-B6EE-46680A52C501}" dt="2022-09-21T18:00:21.119" v="838" actId="2696"/>
        <pc:sldMkLst>
          <pc:docMk/>
          <pc:sldMk cId="888786860" sldId="2147469983"/>
        </pc:sldMkLst>
      </pc:sldChg>
      <pc:sldChg chg="add">
        <pc:chgData name="Alex Powers" userId="ae4a1fc7-4395-46d3-b2f1-3b3c37036ad1" providerId="ADAL" clId="{CA276D41-AFC9-4BEF-B6EE-46680A52C501}" dt="2022-09-21T18:00:27.263" v="839"/>
        <pc:sldMkLst>
          <pc:docMk/>
          <pc:sldMk cId="3567913994" sldId="2147469983"/>
        </pc:sldMkLst>
      </pc:sldChg>
      <pc:sldChg chg="del">
        <pc:chgData name="Alex Powers" userId="ae4a1fc7-4395-46d3-b2f1-3b3c37036ad1" providerId="ADAL" clId="{CA276D41-AFC9-4BEF-B6EE-46680A52C501}" dt="2022-09-21T18:00:21.119" v="838" actId="2696"/>
        <pc:sldMkLst>
          <pc:docMk/>
          <pc:sldMk cId="1046244589" sldId="2147469984"/>
        </pc:sldMkLst>
      </pc:sldChg>
      <pc:sldChg chg="add">
        <pc:chgData name="Alex Powers" userId="ae4a1fc7-4395-46d3-b2f1-3b3c37036ad1" providerId="ADAL" clId="{CA276D41-AFC9-4BEF-B6EE-46680A52C501}" dt="2022-09-21T18:00:27.263" v="839"/>
        <pc:sldMkLst>
          <pc:docMk/>
          <pc:sldMk cId="1334380734" sldId="2147469984"/>
        </pc:sldMkLst>
      </pc:sldChg>
      <pc:sldChg chg="del">
        <pc:chgData name="Alex Powers" userId="ae4a1fc7-4395-46d3-b2f1-3b3c37036ad1" providerId="ADAL" clId="{CA276D41-AFC9-4BEF-B6EE-46680A52C501}" dt="2022-09-21T18:00:21.119" v="838" actId="2696"/>
        <pc:sldMkLst>
          <pc:docMk/>
          <pc:sldMk cId="3280957216" sldId="2147469985"/>
        </pc:sldMkLst>
      </pc:sldChg>
      <pc:sldChg chg="add">
        <pc:chgData name="Alex Powers" userId="ae4a1fc7-4395-46d3-b2f1-3b3c37036ad1" providerId="ADAL" clId="{CA276D41-AFC9-4BEF-B6EE-46680A52C501}" dt="2022-09-21T18:00:27.263" v="839"/>
        <pc:sldMkLst>
          <pc:docMk/>
          <pc:sldMk cId="3437924214" sldId="2147469985"/>
        </pc:sldMkLst>
      </pc:sldChg>
      <pc:sldChg chg="add">
        <pc:chgData name="Alex Powers" userId="ae4a1fc7-4395-46d3-b2f1-3b3c37036ad1" providerId="ADAL" clId="{CA276D41-AFC9-4BEF-B6EE-46680A52C501}" dt="2022-09-21T18:00:27.263" v="839"/>
        <pc:sldMkLst>
          <pc:docMk/>
          <pc:sldMk cId="170189365" sldId="2147469986"/>
        </pc:sldMkLst>
      </pc:sldChg>
      <pc:sldChg chg="del">
        <pc:chgData name="Alex Powers" userId="ae4a1fc7-4395-46d3-b2f1-3b3c37036ad1" providerId="ADAL" clId="{CA276D41-AFC9-4BEF-B6EE-46680A52C501}" dt="2022-09-21T18:00:21.119" v="838" actId="2696"/>
        <pc:sldMkLst>
          <pc:docMk/>
          <pc:sldMk cId="1294955514" sldId="2147469986"/>
        </pc:sldMkLst>
      </pc:sldChg>
      <pc:sldChg chg="del">
        <pc:chgData name="Alex Powers" userId="ae4a1fc7-4395-46d3-b2f1-3b3c37036ad1" providerId="ADAL" clId="{CA276D41-AFC9-4BEF-B6EE-46680A52C501}" dt="2022-09-21T18:00:21.119" v="838" actId="2696"/>
        <pc:sldMkLst>
          <pc:docMk/>
          <pc:sldMk cId="29555374" sldId="2147469987"/>
        </pc:sldMkLst>
      </pc:sldChg>
      <pc:sldChg chg="add">
        <pc:chgData name="Alex Powers" userId="ae4a1fc7-4395-46d3-b2f1-3b3c37036ad1" providerId="ADAL" clId="{CA276D41-AFC9-4BEF-B6EE-46680A52C501}" dt="2022-09-21T18:00:27.263" v="839"/>
        <pc:sldMkLst>
          <pc:docMk/>
          <pc:sldMk cId="3973779779" sldId="2147469987"/>
        </pc:sldMkLst>
      </pc:sldChg>
      <pc:sldChg chg="del">
        <pc:chgData name="Alex Powers" userId="ae4a1fc7-4395-46d3-b2f1-3b3c37036ad1" providerId="ADAL" clId="{CA276D41-AFC9-4BEF-B6EE-46680A52C501}" dt="2022-09-21T18:00:21.119" v="838" actId="2696"/>
        <pc:sldMkLst>
          <pc:docMk/>
          <pc:sldMk cId="2619014782" sldId="2147469988"/>
        </pc:sldMkLst>
      </pc:sldChg>
      <pc:sldChg chg="add">
        <pc:chgData name="Alex Powers" userId="ae4a1fc7-4395-46d3-b2f1-3b3c37036ad1" providerId="ADAL" clId="{CA276D41-AFC9-4BEF-B6EE-46680A52C501}" dt="2022-09-21T18:00:27.263" v="839"/>
        <pc:sldMkLst>
          <pc:docMk/>
          <pc:sldMk cId="3896218398" sldId="2147469988"/>
        </pc:sldMkLst>
      </pc:sldChg>
      <pc:sldChg chg="add">
        <pc:chgData name="Alex Powers" userId="ae4a1fc7-4395-46d3-b2f1-3b3c37036ad1" providerId="ADAL" clId="{CA276D41-AFC9-4BEF-B6EE-46680A52C501}" dt="2022-09-21T18:00:27.263" v="839"/>
        <pc:sldMkLst>
          <pc:docMk/>
          <pc:sldMk cId="1562393145" sldId="2147469990"/>
        </pc:sldMkLst>
      </pc:sldChg>
      <pc:sldChg chg="del mod modShow">
        <pc:chgData name="Alex Powers" userId="ae4a1fc7-4395-46d3-b2f1-3b3c37036ad1" providerId="ADAL" clId="{CA276D41-AFC9-4BEF-B6EE-46680A52C501}" dt="2022-09-21T18:00:21.119" v="838" actId="2696"/>
        <pc:sldMkLst>
          <pc:docMk/>
          <pc:sldMk cId="3096642978" sldId="2147469990"/>
        </pc:sldMkLst>
      </pc:sldChg>
      <pc:sldChg chg="add">
        <pc:chgData name="Alex Powers" userId="ae4a1fc7-4395-46d3-b2f1-3b3c37036ad1" providerId="ADAL" clId="{CA276D41-AFC9-4BEF-B6EE-46680A52C501}" dt="2022-09-21T18:00:27.263" v="839"/>
        <pc:sldMkLst>
          <pc:docMk/>
          <pc:sldMk cId="392625646" sldId="2147469991"/>
        </pc:sldMkLst>
      </pc:sldChg>
      <pc:sldChg chg="del mod modShow">
        <pc:chgData name="Alex Powers" userId="ae4a1fc7-4395-46d3-b2f1-3b3c37036ad1" providerId="ADAL" clId="{CA276D41-AFC9-4BEF-B6EE-46680A52C501}" dt="2022-09-21T18:00:21.119" v="838" actId="2696"/>
        <pc:sldMkLst>
          <pc:docMk/>
          <pc:sldMk cId="4140600895" sldId="2147469991"/>
        </pc:sldMkLst>
      </pc:sldChg>
      <pc:sldChg chg="add del">
        <pc:chgData name="Alex Powers" userId="ae4a1fc7-4395-46d3-b2f1-3b3c37036ad1" providerId="ADAL" clId="{CA276D41-AFC9-4BEF-B6EE-46680A52C501}" dt="2022-09-21T12:44:15.121" v="2"/>
        <pc:sldMkLst>
          <pc:docMk/>
          <pc:sldMk cId="1470683276" sldId="2147470018"/>
        </pc:sldMkLst>
      </pc:sldChg>
      <pc:sldChg chg="modSp add mod modAnim">
        <pc:chgData name="Alex Powers" userId="ae4a1fc7-4395-46d3-b2f1-3b3c37036ad1" providerId="ADAL" clId="{CA276D41-AFC9-4BEF-B6EE-46680A52C501}" dt="2022-09-21T14:33:58.314" v="723" actId="20577"/>
        <pc:sldMkLst>
          <pc:docMk/>
          <pc:sldMk cId="2660385707" sldId="2147470018"/>
        </pc:sldMkLst>
        <pc:spChg chg="mod">
          <ac:chgData name="Alex Powers" userId="ae4a1fc7-4395-46d3-b2f1-3b3c37036ad1" providerId="ADAL" clId="{CA276D41-AFC9-4BEF-B6EE-46680A52C501}" dt="2022-09-21T13:09:12.929" v="453" actId="207"/>
          <ac:spMkLst>
            <pc:docMk/>
            <pc:sldMk cId="2660385707" sldId="2147470018"/>
            <ac:spMk id="3" creationId="{FCE6285D-7541-4859-AA62-FA584FAB1695}"/>
          </ac:spMkLst>
        </pc:spChg>
        <pc:spChg chg="mod">
          <ac:chgData name="Alex Powers" userId="ae4a1fc7-4395-46d3-b2f1-3b3c37036ad1" providerId="ADAL" clId="{CA276D41-AFC9-4BEF-B6EE-46680A52C501}" dt="2022-09-21T14:33:58.314" v="723" actId="20577"/>
          <ac:spMkLst>
            <pc:docMk/>
            <pc:sldMk cId="2660385707" sldId="2147470018"/>
            <ac:spMk id="5" creationId="{B2062909-0AFD-477D-A2E8-CBD8284CCA40}"/>
          </ac:spMkLst>
        </pc:spChg>
        <pc:spChg chg="mod">
          <ac:chgData name="Alex Powers" userId="ae4a1fc7-4395-46d3-b2f1-3b3c37036ad1" providerId="ADAL" clId="{CA276D41-AFC9-4BEF-B6EE-46680A52C501}" dt="2022-09-21T13:09:27.364" v="459" actId="20577"/>
          <ac:spMkLst>
            <pc:docMk/>
            <pc:sldMk cId="2660385707" sldId="2147470018"/>
            <ac:spMk id="6" creationId="{B22D67FE-8787-4AA2-B41A-F489775A3742}"/>
          </ac:spMkLst>
        </pc:spChg>
      </pc:sldChg>
      <pc:sldChg chg="addSp delSp modSp add mod">
        <pc:chgData name="Alex Powers" userId="ae4a1fc7-4395-46d3-b2f1-3b3c37036ad1" providerId="ADAL" clId="{CA276D41-AFC9-4BEF-B6EE-46680A52C501}" dt="2022-09-21T20:14:55.235" v="949" actId="1076"/>
        <pc:sldMkLst>
          <pc:docMk/>
          <pc:sldMk cId="2167896620" sldId="2147470019"/>
        </pc:sldMkLst>
        <pc:spChg chg="mod">
          <ac:chgData name="Alex Powers" userId="ae4a1fc7-4395-46d3-b2f1-3b3c37036ad1" providerId="ADAL" clId="{CA276D41-AFC9-4BEF-B6EE-46680A52C501}" dt="2022-09-21T20:13:19.768" v="930" actId="14100"/>
          <ac:spMkLst>
            <pc:docMk/>
            <pc:sldMk cId="2167896620" sldId="2147470019"/>
            <ac:spMk id="2" creationId="{00000000-0000-0000-0000-000000000000}"/>
          </ac:spMkLst>
        </pc:spChg>
        <pc:spChg chg="add del mod">
          <ac:chgData name="Alex Powers" userId="ae4a1fc7-4395-46d3-b2f1-3b3c37036ad1" providerId="ADAL" clId="{CA276D41-AFC9-4BEF-B6EE-46680A52C501}" dt="2022-09-21T14:09:52.968" v="526" actId="478"/>
          <ac:spMkLst>
            <pc:docMk/>
            <pc:sldMk cId="2167896620" sldId="2147470019"/>
            <ac:spMk id="3" creationId="{62C7C930-33E5-21BC-D01E-CFAEC14B34FA}"/>
          </ac:spMkLst>
        </pc:spChg>
        <pc:spChg chg="add mod">
          <ac:chgData name="Alex Powers" userId="ae4a1fc7-4395-46d3-b2f1-3b3c37036ad1" providerId="ADAL" clId="{CA276D41-AFC9-4BEF-B6EE-46680A52C501}" dt="2022-09-21T20:14:55.235" v="949" actId="1076"/>
          <ac:spMkLst>
            <pc:docMk/>
            <pc:sldMk cId="2167896620" sldId="2147470019"/>
            <ac:spMk id="4" creationId="{0A6BBA13-66A2-9689-F50A-598B57A8481C}"/>
          </ac:spMkLst>
        </pc:spChg>
        <pc:spChg chg="add del mod">
          <ac:chgData name="Alex Powers" userId="ae4a1fc7-4395-46d3-b2f1-3b3c37036ad1" providerId="ADAL" clId="{CA276D41-AFC9-4BEF-B6EE-46680A52C501}" dt="2022-09-21T20:13:38.253" v="935" actId="478"/>
          <ac:spMkLst>
            <pc:docMk/>
            <pc:sldMk cId="2167896620" sldId="2147470019"/>
            <ac:spMk id="6" creationId="{D40AAD97-32E2-0CDB-F5BA-926CDC420AD3}"/>
          </ac:spMkLst>
        </pc:spChg>
        <pc:spChg chg="add mod">
          <ac:chgData name="Alex Powers" userId="ae4a1fc7-4395-46d3-b2f1-3b3c37036ad1" providerId="ADAL" clId="{CA276D41-AFC9-4BEF-B6EE-46680A52C501}" dt="2022-09-21T20:14:51.356" v="948" actId="1076"/>
          <ac:spMkLst>
            <pc:docMk/>
            <pc:sldMk cId="2167896620" sldId="2147470019"/>
            <ac:spMk id="8" creationId="{797C0335-7D4C-6A0B-5C4C-E117F9DCF97F}"/>
          </ac:spMkLst>
        </pc:spChg>
        <pc:graphicFrameChg chg="del">
          <ac:chgData name="Alex Powers" userId="ae4a1fc7-4395-46d3-b2f1-3b3c37036ad1" providerId="ADAL" clId="{CA276D41-AFC9-4BEF-B6EE-46680A52C501}" dt="2022-09-21T14:09:11.011" v="466" actId="478"/>
          <ac:graphicFrameMkLst>
            <pc:docMk/>
            <pc:sldMk cId="2167896620" sldId="2147470019"/>
            <ac:graphicFrameMk id="7" creationId="{3E5C1877-83B6-43B2-8D9F-D6B32A5B8BB7}"/>
          </ac:graphicFrameMkLst>
        </pc:graphicFrameChg>
      </pc:sldChg>
      <pc:sldChg chg="add">
        <pc:chgData name="Alex Powers" userId="ae4a1fc7-4395-46d3-b2f1-3b3c37036ad1" providerId="ADAL" clId="{CA276D41-AFC9-4BEF-B6EE-46680A52C501}" dt="2022-09-21T17:48:24.037" v="762"/>
        <pc:sldMkLst>
          <pc:docMk/>
          <pc:sldMk cId="251696956" sldId="2147470020"/>
        </pc:sldMkLst>
      </pc:sldChg>
      <pc:sldChg chg="add modAnim">
        <pc:chgData name="Alex Powers" userId="ae4a1fc7-4395-46d3-b2f1-3b3c37036ad1" providerId="ADAL" clId="{CA276D41-AFC9-4BEF-B6EE-46680A52C501}" dt="2022-09-21T17:54:02.995" v="784"/>
        <pc:sldMkLst>
          <pc:docMk/>
          <pc:sldMk cId="3403083790" sldId="2147470021"/>
        </pc:sldMkLst>
      </pc:sldChg>
      <pc:sldChg chg="add">
        <pc:chgData name="Alex Powers" userId="ae4a1fc7-4395-46d3-b2f1-3b3c37036ad1" providerId="ADAL" clId="{CA276D41-AFC9-4BEF-B6EE-46680A52C501}" dt="2022-09-21T17:54:55.516" v="785"/>
        <pc:sldMkLst>
          <pc:docMk/>
          <pc:sldMk cId="1775685642" sldId="2147470022"/>
        </pc:sldMkLst>
      </pc:sldChg>
      <pc:sldChg chg="add">
        <pc:chgData name="Alex Powers" userId="ae4a1fc7-4395-46d3-b2f1-3b3c37036ad1" providerId="ADAL" clId="{CA276D41-AFC9-4BEF-B6EE-46680A52C501}" dt="2022-09-21T17:57:01.649" v="798"/>
        <pc:sldMkLst>
          <pc:docMk/>
          <pc:sldMk cId="828768306" sldId="2147470023"/>
        </pc:sldMkLst>
      </pc:sldChg>
      <pc:sldChg chg="new del">
        <pc:chgData name="Alex Powers" userId="ae4a1fc7-4395-46d3-b2f1-3b3c37036ad1" providerId="ADAL" clId="{CA276D41-AFC9-4BEF-B6EE-46680A52C501}" dt="2022-09-21T17:58:21.640" v="831" actId="47"/>
        <pc:sldMkLst>
          <pc:docMk/>
          <pc:sldMk cId="2362403173" sldId="2147470024"/>
        </pc:sldMkLst>
      </pc:sldChg>
      <pc:sldChg chg="addSp delSp modSp add mod modShow">
        <pc:chgData name="Alex Powers" userId="ae4a1fc7-4395-46d3-b2f1-3b3c37036ad1" providerId="ADAL" clId="{CA276D41-AFC9-4BEF-B6EE-46680A52C501}" dt="2022-09-22T14:56:07.179" v="5241" actId="20577"/>
        <pc:sldMkLst>
          <pc:docMk/>
          <pc:sldMk cId="1862046003" sldId="2147470025"/>
        </pc:sldMkLst>
        <pc:spChg chg="del">
          <ac:chgData name="Alex Powers" userId="ae4a1fc7-4395-46d3-b2f1-3b3c37036ad1" providerId="ADAL" clId="{CA276D41-AFC9-4BEF-B6EE-46680A52C501}" dt="2022-09-21T17:58:00.301" v="801" actId="478"/>
          <ac:spMkLst>
            <pc:docMk/>
            <pc:sldMk cId="1862046003" sldId="2147470025"/>
            <ac:spMk id="3" creationId="{00000000-0000-0000-0000-000000000000}"/>
          </ac:spMkLst>
        </pc:spChg>
        <pc:spChg chg="del">
          <ac:chgData name="Alex Powers" userId="ae4a1fc7-4395-46d3-b2f1-3b3c37036ad1" providerId="ADAL" clId="{CA276D41-AFC9-4BEF-B6EE-46680A52C501}" dt="2022-09-21T17:58:05.718" v="803" actId="478"/>
          <ac:spMkLst>
            <pc:docMk/>
            <pc:sldMk cId="1862046003" sldId="2147470025"/>
            <ac:spMk id="4" creationId="{A0B0CD16-BC87-4AC0-AEF5-B6E30105BEBE}"/>
          </ac:spMkLst>
        </pc:spChg>
        <pc:spChg chg="add del mod">
          <ac:chgData name="Alex Powers" userId="ae4a1fc7-4395-46d3-b2f1-3b3c37036ad1" providerId="ADAL" clId="{CA276D41-AFC9-4BEF-B6EE-46680A52C501}" dt="2022-09-21T17:58:02.754" v="802" actId="478"/>
          <ac:spMkLst>
            <pc:docMk/>
            <pc:sldMk cId="1862046003" sldId="2147470025"/>
            <ac:spMk id="5" creationId="{BC43E114-4A92-4818-070F-40A7233A7555}"/>
          </ac:spMkLst>
        </pc:spChg>
        <pc:spChg chg="del">
          <ac:chgData name="Alex Powers" userId="ae4a1fc7-4395-46d3-b2f1-3b3c37036ad1" providerId="ADAL" clId="{CA276D41-AFC9-4BEF-B6EE-46680A52C501}" dt="2022-09-21T17:58:05.718" v="803" actId="478"/>
          <ac:spMkLst>
            <pc:docMk/>
            <pc:sldMk cId="1862046003" sldId="2147470025"/>
            <ac:spMk id="7" creationId="{1E85CD01-95CA-47C9-985B-25C543E04654}"/>
          </ac:spMkLst>
        </pc:spChg>
        <pc:spChg chg="del">
          <ac:chgData name="Alex Powers" userId="ae4a1fc7-4395-46d3-b2f1-3b3c37036ad1" providerId="ADAL" clId="{CA276D41-AFC9-4BEF-B6EE-46680A52C501}" dt="2022-09-21T17:58:05.718" v="803" actId="478"/>
          <ac:spMkLst>
            <pc:docMk/>
            <pc:sldMk cId="1862046003" sldId="2147470025"/>
            <ac:spMk id="10" creationId="{77C1B2CA-F04E-4767-91C7-569AEB5C309B}"/>
          </ac:spMkLst>
        </pc:spChg>
        <pc:spChg chg="mod">
          <ac:chgData name="Alex Powers" userId="ae4a1fc7-4395-46d3-b2f1-3b3c37036ad1" providerId="ADAL" clId="{CA276D41-AFC9-4BEF-B6EE-46680A52C501}" dt="2022-09-22T14:44:16.702" v="4534" actId="20577"/>
          <ac:spMkLst>
            <pc:docMk/>
            <pc:sldMk cId="1862046003" sldId="2147470025"/>
            <ac:spMk id="12" creationId="{B89B5BCA-B02C-496F-B3B4-7EC34B922586}"/>
          </ac:spMkLst>
        </pc:spChg>
        <pc:spChg chg="del">
          <ac:chgData name="Alex Powers" userId="ae4a1fc7-4395-46d3-b2f1-3b3c37036ad1" providerId="ADAL" clId="{CA276D41-AFC9-4BEF-B6EE-46680A52C501}" dt="2022-09-21T17:58:05.718" v="803" actId="478"/>
          <ac:spMkLst>
            <pc:docMk/>
            <pc:sldMk cId="1862046003" sldId="2147470025"/>
            <ac:spMk id="13" creationId="{4ACD3412-788F-49DC-98FD-19C625333BC6}"/>
          </ac:spMkLst>
        </pc:spChg>
        <pc:spChg chg="del">
          <ac:chgData name="Alex Powers" userId="ae4a1fc7-4395-46d3-b2f1-3b3c37036ad1" providerId="ADAL" clId="{CA276D41-AFC9-4BEF-B6EE-46680A52C501}" dt="2022-09-21T17:58:05.718" v="803" actId="478"/>
          <ac:spMkLst>
            <pc:docMk/>
            <pc:sldMk cId="1862046003" sldId="2147470025"/>
            <ac:spMk id="15" creationId="{A88C60D1-2857-4CE6-98CC-DB7E014575E0}"/>
          </ac:spMkLst>
        </pc:spChg>
        <pc:spChg chg="add del mod">
          <ac:chgData name="Alex Powers" userId="ae4a1fc7-4395-46d3-b2f1-3b3c37036ad1" providerId="ADAL" clId="{CA276D41-AFC9-4BEF-B6EE-46680A52C501}" dt="2022-09-22T14:45:04.904" v="4642" actId="478"/>
          <ac:spMkLst>
            <pc:docMk/>
            <pc:sldMk cId="1862046003" sldId="2147470025"/>
            <ac:spMk id="20" creationId="{AD907DA6-FB01-6577-04C9-6C9317B326DF}"/>
          </ac:spMkLst>
        </pc:spChg>
        <pc:spChg chg="add mod">
          <ac:chgData name="Alex Powers" userId="ae4a1fc7-4395-46d3-b2f1-3b3c37036ad1" providerId="ADAL" clId="{CA276D41-AFC9-4BEF-B6EE-46680A52C501}" dt="2022-09-22T14:56:07.179" v="5241" actId="20577"/>
          <ac:spMkLst>
            <pc:docMk/>
            <pc:sldMk cId="1862046003" sldId="2147470025"/>
            <ac:spMk id="21" creationId="{32545513-21A5-AE1F-B69A-59692DB715A5}"/>
          </ac:spMkLst>
        </pc:spChg>
        <pc:spChg chg="del">
          <ac:chgData name="Alex Powers" userId="ae4a1fc7-4395-46d3-b2f1-3b3c37036ad1" providerId="ADAL" clId="{CA276D41-AFC9-4BEF-B6EE-46680A52C501}" dt="2022-09-21T17:58:05.718" v="803" actId="478"/>
          <ac:spMkLst>
            <pc:docMk/>
            <pc:sldMk cId="1862046003" sldId="2147470025"/>
            <ac:spMk id="43" creationId="{86430280-6C99-4817-9C30-84EDAA337868}"/>
          </ac:spMkLst>
        </pc:spChg>
        <pc:spChg chg="del">
          <ac:chgData name="Alex Powers" userId="ae4a1fc7-4395-46d3-b2f1-3b3c37036ad1" providerId="ADAL" clId="{CA276D41-AFC9-4BEF-B6EE-46680A52C501}" dt="2022-09-21T17:58:05.718" v="803" actId="478"/>
          <ac:spMkLst>
            <pc:docMk/>
            <pc:sldMk cId="1862046003" sldId="2147470025"/>
            <ac:spMk id="45" creationId="{72A87A1C-E46C-421B-A290-7E3583A3EDE8}"/>
          </ac:spMkLst>
        </pc:spChg>
        <pc:spChg chg="del">
          <ac:chgData name="Alex Powers" userId="ae4a1fc7-4395-46d3-b2f1-3b3c37036ad1" providerId="ADAL" clId="{CA276D41-AFC9-4BEF-B6EE-46680A52C501}" dt="2022-09-21T17:58:05.718" v="803" actId="478"/>
          <ac:spMkLst>
            <pc:docMk/>
            <pc:sldMk cId="1862046003" sldId="2147470025"/>
            <ac:spMk id="47" creationId="{A8F045CA-A84F-41AF-B4C2-725B88D3F123}"/>
          </ac:spMkLst>
        </pc:spChg>
        <pc:spChg chg="del">
          <ac:chgData name="Alex Powers" userId="ae4a1fc7-4395-46d3-b2f1-3b3c37036ad1" providerId="ADAL" clId="{CA276D41-AFC9-4BEF-B6EE-46680A52C501}" dt="2022-09-21T17:58:05.718" v="803" actId="478"/>
          <ac:spMkLst>
            <pc:docMk/>
            <pc:sldMk cId="1862046003" sldId="2147470025"/>
            <ac:spMk id="49" creationId="{B54E62FD-79E6-436A-9AF9-E1A6BBB40300}"/>
          </ac:spMkLst>
        </pc:spChg>
        <pc:spChg chg="del">
          <ac:chgData name="Alex Powers" userId="ae4a1fc7-4395-46d3-b2f1-3b3c37036ad1" providerId="ADAL" clId="{CA276D41-AFC9-4BEF-B6EE-46680A52C501}" dt="2022-09-21T17:58:05.718" v="803" actId="478"/>
          <ac:spMkLst>
            <pc:docMk/>
            <pc:sldMk cId="1862046003" sldId="2147470025"/>
            <ac:spMk id="51" creationId="{A174F806-BB61-4D02-BE1C-A3960C7060A4}"/>
          </ac:spMkLst>
        </pc:spChg>
        <pc:spChg chg="del">
          <ac:chgData name="Alex Powers" userId="ae4a1fc7-4395-46d3-b2f1-3b3c37036ad1" providerId="ADAL" clId="{CA276D41-AFC9-4BEF-B6EE-46680A52C501}" dt="2022-09-21T17:58:05.718" v="803" actId="478"/>
          <ac:spMkLst>
            <pc:docMk/>
            <pc:sldMk cId="1862046003" sldId="2147470025"/>
            <ac:spMk id="53" creationId="{72FA6718-7BA0-42F8-A131-6583FD77A828}"/>
          </ac:spMkLst>
        </pc:spChg>
        <pc:spChg chg="del">
          <ac:chgData name="Alex Powers" userId="ae4a1fc7-4395-46d3-b2f1-3b3c37036ad1" providerId="ADAL" clId="{CA276D41-AFC9-4BEF-B6EE-46680A52C501}" dt="2022-09-21T17:58:05.718" v="803" actId="478"/>
          <ac:spMkLst>
            <pc:docMk/>
            <pc:sldMk cId="1862046003" sldId="2147470025"/>
            <ac:spMk id="55" creationId="{7101FA97-BDA5-4733-AD32-5A5F6BA65A5E}"/>
          </ac:spMkLst>
        </pc:spChg>
        <pc:spChg chg="del">
          <ac:chgData name="Alex Powers" userId="ae4a1fc7-4395-46d3-b2f1-3b3c37036ad1" providerId="ADAL" clId="{CA276D41-AFC9-4BEF-B6EE-46680A52C501}" dt="2022-09-21T17:58:05.718" v="803" actId="478"/>
          <ac:spMkLst>
            <pc:docMk/>
            <pc:sldMk cId="1862046003" sldId="2147470025"/>
            <ac:spMk id="57" creationId="{FAD1CF8A-7198-4FD3-BF11-2063BCEC5BA8}"/>
          </ac:spMkLst>
        </pc:spChg>
        <pc:spChg chg="del">
          <ac:chgData name="Alex Powers" userId="ae4a1fc7-4395-46d3-b2f1-3b3c37036ad1" providerId="ADAL" clId="{CA276D41-AFC9-4BEF-B6EE-46680A52C501}" dt="2022-09-21T17:58:05.718" v="803" actId="478"/>
          <ac:spMkLst>
            <pc:docMk/>
            <pc:sldMk cId="1862046003" sldId="2147470025"/>
            <ac:spMk id="60" creationId="{7B6B0CBE-D9EF-4606-B4A1-19A59350F356}"/>
          </ac:spMkLst>
        </pc:spChg>
        <pc:grpChg chg="del">
          <ac:chgData name="Alex Powers" userId="ae4a1fc7-4395-46d3-b2f1-3b3c37036ad1" providerId="ADAL" clId="{CA276D41-AFC9-4BEF-B6EE-46680A52C501}" dt="2022-09-21T17:58:10.567" v="804" actId="478"/>
          <ac:grpSpMkLst>
            <pc:docMk/>
            <pc:sldMk cId="1862046003" sldId="2147470025"/>
            <ac:grpSpMk id="26" creationId="{24554D04-33E8-4A56-A5E4-31B271AB09A5}"/>
          </ac:grpSpMkLst>
        </pc:grpChg>
        <pc:picChg chg="add del mod">
          <ac:chgData name="Alex Powers" userId="ae4a1fc7-4395-46d3-b2f1-3b3c37036ad1" providerId="ADAL" clId="{CA276D41-AFC9-4BEF-B6EE-46680A52C501}" dt="2022-09-22T14:41:47.107" v="4529" actId="478"/>
          <ac:picMkLst>
            <pc:docMk/>
            <pc:sldMk cId="1862046003" sldId="2147470025"/>
            <ac:picMk id="8" creationId="{D5C888F5-8D89-6408-0FB3-0146C4F4B6EC}"/>
          </ac:picMkLst>
        </pc:picChg>
        <pc:picChg chg="add del mod">
          <ac:chgData name="Alex Powers" userId="ae4a1fc7-4395-46d3-b2f1-3b3c37036ad1" providerId="ADAL" clId="{CA276D41-AFC9-4BEF-B6EE-46680A52C501}" dt="2022-09-22T14:41:44.176" v="4527" actId="478"/>
          <ac:picMkLst>
            <pc:docMk/>
            <pc:sldMk cId="1862046003" sldId="2147470025"/>
            <ac:picMk id="14" creationId="{C4B76E5E-1B8F-5628-1C4B-FA259A9E3564}"/>
          </ac:picMkLst>
        </pc:picChg>
        <pc:picChg chg="add del mod">
          <ac:chgData name="Alex Powers" userId="ae4a1fc7-4395-46d3-b2f1-3b3c37036ad1" providerId="ADAL" clId="{CA276D41-AFC9-4BEF-B6EE-46680A52C501}" dt="2022-09-22T14:41:45.693" v="4528" actId="478"/>
          <ac:picMkLst>
            <pc:docMk/>
            <pc:sldMk cId="1862046003" sldId="2147470025"/>
            <ac:picMk id="17" creationId="{1136933B-773A-4071-6F64-933C0F8B5265}"/>
          </ac:picMkLst>
        </pc:picChg>
        <pc:picChg chg="add mod">
          <ac:chgData name="Alex Powers" userId="ae4a1fc7-4395-46d3-b2f1-3b3c37036ad1" providerId="ADAL" clId="{CA276D41-AFC9-4BEF-B6EE-46680A52C501}" dt="2022-09-22T14:55:37.232" v="5196" actId="1076"/>
          <ac:picMkLst>
            <pc:docMk/>
            <pc:sldMk cId="1862046003" sldId="2147470025"/>
            <ac:picMk id="19" creationId="{28C14FF6-8875-5CE0-8E10-4BE25BBB5944}"/>
          </ac:picMkLst>
        </pc:picChg>
        <pc:picChg chg="add mod">
          <ac:chgData name="Alex Powers" userId="ae4a1fc7-4395-46d3-b2f1-3b3c37036ad1" providerId="ADAL" clId="{CA276D41-AFC9-4BEF-B6EE-46680A52C501}" dt="2022-09-22T14:55:32.231" v="5195" actId="1076"/>
          <ac:picMkLst>
            <pc:docMk/>
            <pc:sldMk cId="1862046003" sldId="2147470025"/>
            <ac:picMk id="23" creationId="{856C1599-E2AE-70AC-499C-1DF8AE072873}"/>
          </ac:picMkLst>
        </pc:picChg>
      </pc:sldChg>
      <pc:sldChg chg="add">
        <pc:chgData name="Alex Powers" userId="ae4a1fc7-4395-46d3-b2f1-3b3c37036ad1" providerId="ADAL" clId="{CA276D41-AFC9-4BEF-B6EE-46680A52C501}" dt="2022-09-21T17:58:20.285" v="830"/>
        <pc:sldMkLst>
          <pc:docMk/>
          <pc:sldMk cId="2985688466" sldId="2147470026"/>
        </pc:sldMkLst>
      </pc:sldChg>
      <pc:sldChg chg="add">
        <pc:chgData name="Alex Powers" userId="ae4a1fc7-4395-46d3-b2f1-3b3c37036ad1" providerId="ADAL" clId="{CA276D41-AFC9-4BEF-B6EE-46680A52C501}" dt="2022-09-21T17:59:34.916" v="835"/>
        <pc:sldMkLst>
          <pc:docMk/>
          <pc:sldMk cId="4217775724" sldId="2147470027"/>
        </pc:sldMkLst>
      </pc:sldChg>
      <pc:sldChg chg="modSp add del mod">
        <pc:chgData name="Alex Powers" userId="ae4a1fc7-4395-46d3-b2f1-3b3c37036ad1" providerId="ADAL" clId="{CA276D41-AFC9-4BEF-B6EE-46680A52C501}" dt="2022-09-22T13:55:12.978" v="1124" actId="47"/>
        <pc:sldMkLst>
          <pc:docMk/>
          <pc:sldMk cId="2500469967" sldId="2147470028"/>
        </pc:sldMkLst>
        <pc:spChg chg="mod">
          <ac:chgData name="Alex Powers" userId="ae4a1fc7-4395-46d3-b2f1-3b3c37036ad1" providerId="ADAL" clId="{CA276D41-AFC9-4BEF-B6EE-46680A52C501}" dt="2022-09-22T13:53:01.376" v="1096" actId="20577"/>
          <ac:spMkLst>
            <pc:docMk/>
            <pc:sldMk cId="2500469967" sldId="2147470028"/>
            <ac:spMk id="34" creationId="{C86876B5-5E1B-4EAA-994C-00C61C1F64C5}"/>
          </ac:spMkLst>
        </pc:spChg>
        <pc:spChg chg="mod">
          <ac:chgData name="Alex Powers" userId="ae4a1fc7-4395-46d3-b2f1-3b3c37036ad1" providerId="ADAL" clId="{CA276D41-AFC9-4BEF-B6EE-46680A52C501}" dt="2022-09-22T13:53:34.718" v="1098" actId="207"/>
          <ac:spMkLst>
            <pc:docMk/>
            <pc:sldMk cId="2500469967" sldId="2147470028"/>
            <ac:spMk id="86" creationId="{8EE24D38-2494-49D9-A944-C2333D182120}"/>
          </ac:spMkLst>
        </pc:spChg>
      </pc:sldChg>
      <pc:sldChg chg="modSp add del mod">
        <pc:chgData name="Alex Powers" userId="ae4a1fc7-4395-46d3-b2f1-3b3c37036ad1" providerId="ADAL" clId="{CA276D41-AFC9-4BEF-B6EE-46680A52C501}" dt="2022-09-22T13:52:51.137" v="1087" actId="47"/>
        <pc:sldMkLst>
          <pc:docMk/>
          <pc:sldMk cId="3997207895" sldId="2147470028"/>
        </pc:sldMkLst>
        <pc:spChg chg="mod">
          <ac:chgData name="Alex Powers" userId="ae4a1fc7-4395-46d3-b2f1-3b3c37036ad1" providerId="ADAL" clId="{CA276D41-AFC9-4BEF-B6EE-46680A52C501}" dt="2022-09-22T13:51:54.394" v="1055" actId="207"/>
          <ac:spMkLst>
            <pc:docMk/>
            <pc:sldMk cId="3997207895" sldId="2147470028"/>
            <ac:spMk id="86" creationId="{8EE24D38-2494-49D9-A944-C2333D182120}"/>
          </ac:spMkLst>
        </pc:spChg>
      </pc:sldChg>
      <pc:sldChg chg="addSp delSp modSp add mod ord">
        <pc:chgData name="Alex Powers" userId="ae4a1fc7-4395-46d3-b2f1-3b3c37036ad1" providerId="ADAL" clId="{CA276D41-AFC9-4BEF-B6EE-46680A52C501}" dt="2022-09-22T14:16:08.514" v="2669"/>
        <pc:sldMkLst>
          <pc:docMk/>
          <pc:sldMk cId="3255266748" sldId="2147470029"/>
        </pc:sldMkLst>
        <pc:spChg chg="add del mod">
          <ac:chgData name="Alex Powers" userId="ae4a1fc7-4395-46d3-b2f1-3b3c37036ad1" providerId="ADAL" clId="{CA276D41-AFC9-4BEF-B6EE-46680A52C501}" dt="2022-09-22T14:11:57.421" v="2250" actId="478"/>
          <ac:spMkLst>
            <pc:docMk/>
            <pc:sldMk cId="3255266748" sldId="2147470029"/>
            <ac:spMk id="4" creationId="{0A1024CC-66AA-A599-D47F-404C5722D55F}"/>
          </ac:spMkLst>
        </pc:spChg>
        <pc:spChg chg="del">
          <ac:chgData name="Alex Powers" userId="ae4a1fc7-4395-46d3-b2f1-3b3c37036ad1" providerId="ADAL" clId="{CA276D41-AFC9-4BEF-B6EE-46680A52C501}" dt="2022-09-22T13:53:49.544" v="1102" actId="478"/>
          <ac:spMkLst>
            <pc:docMk/>
            <pc:sldMk cId="3255266748" sldId="2147470029"/>
            <ac:spMk id="11" creationId="{91D7D164-6DA3-4E6B-BEBF-F227DA26BF50}"/>
          </ac:spMkLst>
        </pc:spChg>
        <pc:spChg chg="del">
          <ac:chgData name="Alex Powers" userId="ae4a1fc7-4395-46d3-b2f1-3b3c37036ad1" providerId="ADAL" clId="{CA276D41-AFC9-4BEF-B6EE-46680A52C501}" dt="2022-09-22T14:14:33.660" v="2624" actId="478"/>
          <ac:spMkLst>
            <pc:docMk/>
            <pc:sldMk cId="3255266748" sldId="2147470029"/>
            <ac:spMk id="15" creationId="{94CB0C34-6558-47BD-A22D-4225A004FCC4}"/>
          </ac:spMkLst>
        </pc:spChg>
        <pc:spChg chg="del">
          <ac:chgData name="Alex Powers" userId="ae4a1fc7-4395-46d3-b2f1-3b3c37036ad1" providerId="ADAL" clId="{CA276D41-AFC9-4BEF-B6EE-46680A52C501}" dt="2022-09-22T14:14:36.463" v="2625" actId="478"/>
          <ac:spMkLst>
            <pc:docMk/>
            <pc:sldMk cId="3255266748" sldId="2147470029"/>
            <ac:spMk id="17" creationId="{64D19349-A129-4AC6-B403-E180872E6D32}"/>
          </ac:spMkLst>
        </pc:spChg>
        <pc:spChg chg="del">
          <ac:chgData name="Alex Powers" userId="ae4a1fc7-4395-46d3-b2f1-3b3c37036ad1" providerId="ADAL" clId="{CA276D41-AFC9-4BEF-B6EE-46680A52C501}" dt="2022-09-22T14:14:39.285" v="2626" actId="478"/>
          <ac:spMkLst>
            <pc:docMk/>
            <pc:sldMk cId="3255266748" sldId="2147470029"/>
            <ac:spMk id="21" creationId="{E53D5C8B-6F2E-4178-B677-619905D1D7EB}"/>
          </ac:spMkLst>
        </pc:spChg>
        <pc:spChg chg="del topLvl">
          <ac:chgData name="Alex Powers" userId="ae4a1fc7-4395-46d3-b2f1-3b3c37036ad1" providerId="ADAL" clId="{CA276D41-AFC9-4BEF-B6EE-46680A52C501}" dt="2022-09-22T13:53:53.057" v="1103" actId="478"/>
          <ac:spMkLst>
            <pc:docMk/>
            <pc:sldMk cId="3255266748" sldId="2147470029"/>
            <ac:spMk id="30" creationId="{839F9D70-B90A-48B9-BF7E-5AD2F1CC8279}"/>
          </ac:spMkLst>
        </pc:spChg>
        <pc:spChg chg="mod">
          <ac:chgData name="Alex Powers" userId="ae4a1fc7-4395-46d3-b2f1-3b3c37036ad1" providerId="ADAL" clId="{CA276D41-AFC9-4BEF-B6EE-46680A52C501}" dt="2022-09-22T13:56:35.416" v="1199" actId="20577"/>
          <ac:spMkLst>
            <pc:docMk/>
            <pc:sldMk cId="3255266748" sldId="2147470029"/>
            <ac:spMk id="34" creationId="{C86876B5-5E1B-4EAA-994C-00C61C1F64C5}"/>
          </ac:spMkLst>
        </pc:spChg>
        <pc:spChg chg="mod topLvl">
          <ac:chgData name="Alex Powers" userId="ae4a1fc7-4395-46d3-b2f1-3b3c37036ad1" providerId="ADAL" clId="{CA276D41-AFC9-4BEF-B6EE-46680A52C501}" dt="2022-09-22T13:54:21.055" v="1107" actId="207"/>
          <ac:spMkLst>
            <pc:docMk/>
            <pc:sldMk cId="3255266748" sldId="2147470029"/>
            <ac:spMk id="86" creationId="{8EE24D38-2494-49D9-A944-C2333D182120}"/>
          </ac:spMkLst>
        </pc:spChg>
        <pc:spChg chg="del">
          <ac:chgData name="Alex Powers" userId="ae4a1fc7-4395-46d3-b2f1-3b3c37036ad1" providerId="ADAL" clId="{CA276D41-AFC9-4BEF-B6EE-46680A52C501}" dt="2022-09-22T13:53:44.621" v="1100" actId="478"/>
          <ac:spMkLst>
            <pc:docMk/>
            <pc:sldMk cId="3255266748" sldId="2147470029"/>
            <ac:spMk id="93" creationId="{0BBEAFF1-D87C-4A04-BFE7-918D36A07B14}"/>
          </ac:spMkLst>
        </pc:spChg>
        <pc:spChg chg="del">
          <ac:chgData name="Alex Powers" userId="ae4a1fc7-4395-46d3-b2f1-3b3c37036ad1" providerId="ADAL" clId="{CA276D41-AFC9-4BEF-B6EE-46680A52C501}" dt="2022-09-22T13:53:47.120" v="1101" actId="478"/>
          <ac:spMkLst>
            <pc:docMk/>
            <pc:sldMk cId="3255266748" sldId="2147470029"/>
            <ac:spMk id="94" creationId="{857A01D0-8818-4FD5-B4A3-2B04F570FCC9}"/>
          </ac:spMkLst>
        </pc:spChg>
        <pc:spChg chg="mod">
          <ac:chgData name="Alex Powers" userId="ae4a1fc7-4395-46d3-b2f1-3b3c37036ad1" providerId="ADAL" clId="{CA276D41-AFC9-4BEF-B6EE-46680A52C501}" dt="2022-09-22T14:15:32.641" v="2667" actId="20577"/>
          <ac:spMkLst>
            <pc:docMk/>
            <pc:sldMk cId="3255266748" sldId="2147470029"/>
            <ac:spMk id="142" creationId="{CE8813FB-2DD8-4D1F-8F33-704BF1DB97F9}"/>
          </ac:spMkLst>
        </pc:spChg>
        <pc:spChg chg="del">
          <ac:chgData name="Alex Powers" userId="ae4a1fc7-4395-46d3-b2f1-3b3c37036ad1" providerId="ADAL" clId="{CA276D41-AFC9-4BEF-B6EE-46680A52C501}" dt="2022-09-22T13:57:09.527" v="1269" actId="478"/>
          <ac:spMkLst>
            <pc:docMk/>
            <pc:sldMk cId="3255266748" sldId="2147470029"/>
            <ac:spMk id="156" creationId="{8A78C84C-3B7A-40AD-89B6-D81EF198D335}"/>
          </ac:spMkLst>
        </pc:spChg>
        <pc:grpChg chg="del">
          <ac:chgData name="Alex Powers" userId="ae4a1fc7-4395-46d3-b2f1-3b3c37036ad1" providerId="ADAL" clId="{CA276D41-AFC9-4BEF-B6EE-46680A52C501}" dt="2022-09-22T13:53:53.057" v="1103" actId="478"/>
          <ac:grpSpMkLst>
            <pc:docMk/>
            <pc:sldMk cId="3255266748" sldId="2147470029"/>
            <ac:grpSpMk id="139" creationId="{78E1AD21-B1E1-4AFC-A797-6C906276B8B9}"/>
          </ac:grpSpMkLst>
        </pc:grpChg>
      </pc:sldChg>
      <pc:sldChg chg="add del">
        <pc:chgData name="Alex Powers" userId="ae4a1fc7-4395-46d3-b2f1-3b3c37036ad1" providerId="ADAL" clId="{CA276D41-AFC9-4BEF-B6EE-46680A52C501}" dt="2022-09-22T13:55:22.219" v="1126" actId="47"/>
        <pc:sldMkLst>
          <pc:docMk/>
          <pc:sldMk cId="2595359839" sldId="2147470030"/>
        </pc:sldMkLst>
      </pc:sldChg>
      <pc:sldChg chg="addSp delSp modSp add mod">
        <pc:chgData name="Alex Powers" userId="ae4a1fc7-4395-46d3-b2f1-3b3c37036ad1" providerId="ADAL" clId="{CA276D41-AFC9-4BEF-B6EE-46680A52C501}" dt="2022-09-22T14:33:55.221" v="3862" actId="1076"/>
        <pc:sldMkLst>
          <pc:docMk/>
          <pc:sldMk cId="2692276594" sldId="2147470031"/>
        </pc:sldMkLst>
        <pc:spChg chg="mod">
          <ac:chgData name="Alex Powers" userId="ae4a1fc7-4395-46d3-b2f1-3b3c37036ad1" providerId="ADAL" clId="{CA276D41-AFC9-4BEF-B6EE-46680A52C501}" dt="2022-09-22T14:23:22.831" v="3110" actId="207"/>
          <ac:spMkLst>
            <pc:docMk/>
            <pc:sldMk cId="2692276594" sldId="2147470031"/>
            <ac:spMk id="11" creationId="{91D7D164-6DA3-4E6B-BEBF-F227DA26BF50}"/>
          </ac:spMkLst>
        </pc:spChg>
        <pc:spChg chg="del">
          <ac:chgData name="Alex Powers" userId="ae4a1fc7-4395-46d3-b2f1-3b3c37036ad1" providerId="ADAL" clId="{CA276D41-AFC9-4BEF-B6EE-46680A52C501}" dt="2022-09-22T14:23:05.534" v="3107" actId="478"/>
          <ac:spMkLst>
            <pc:docMk/>
            <pc:sldMk cId="2692276594" sldId="2147470031"/>
            <ac:spMk id="30" creationId="{839F9D70-B90A-48B9-BF7E-5AD2F1CC8279}"/>
          </ac:spMkLst>
        </pc:spChg>
        <pc:spChg chg="mod">
          <ac:chgData name="Alex Powers" userId="ae4a1fc7-4395-46d3-b2f1-3b3c37036ad1" providerId="ADAL" clId="{CA276D41-AFC9-4BEF-B6EE-46680A52C501}" dt="2022-09-22T14:16:59.656" v="2679" actId="20577"/>
          <ac:spMkLst>
            <pc:docMk/>
            <pc:sldMk cId="2692276594" sldId="2147470031"/>
            <ac:spMk id="34" creationId="{C86876B5-5E1B-4EAA-994C-00C61C1F64C5}"/>
          </ac:spMkLst>
        </pc:spChg>
        <pc:spChg chg="mod">
          <ac:chgData name="Alex Powers" userId="ae4a1fc7-4395-46d3-b2f1-3b3c37036ad1" providerId="ADAL" clId="{CA276D41-AFC9-4BEF-B6EE-46680A52C501}" dt="2022-09-22T14:23:16.571" v="3108" actId="207"/>
          <ac:spMkLst>
            <pc:docMk/>
            <pc:sldMk cId="2692276594" sldId="2147470031"/>
            <ac:spMk id="93" creationId="{0BBEAFF1-D87C-4A04-BFE7-918D36A07B14}"/>
          </ac:spMkLst>
        </pc:spChg>
        <pc:spChg chg="mod">
          <ac:chgData name="Alex Powers" userId="ae4a1fc7-4395-46d3-b2f1-3b3c37036ad1" providerId="ADAL" clId="{CA276D41-AFC9-4BEF-B6EE-46680A52C501}" dt="2022-09-22T14:23:20.146" v="3109" actId="207"/>
          <ac:spMkLst>
            <pc:docMk/>
            <pc:sldMk cId="2692276594" sldId="2147470031"/>
            <ac:spMk id="94" creationId="{857A01D0-8818-4FD5-B4A3-2B04F570FCC9}"/>
          </ac:spMkLst>
        </pc:spChg>
        <pc:spChg chg="mod">
          <ac:chgData name="Alex Powers" userId="ae4a1fc7-4395-46d3-b2f1-3b3c37036ad1" providerId="ADAL" clId="{CA276D41-AFC9-4BEF-B6EE-46680A52C501}" dt="2022-09-22T14:33:55.221" v="3862" actId="1076"/>
          <ac:spMkLst>
            <pc:docMk/>
            <pc:sldMk cId="2692276594" sldId="2147470031"/>
            <ac:spMk id="142" creationId="{CE8813FB-2DD8-4D1F-8F33-704BF1DB97F9}"/>
          </ac:spMkLst>
        </pc:spChg>
        <pc:spChg chg="add del">
          <ac:chgData name="Alex Powers" userId="ae4a1fc7-4395-46d3-b2f1-3b3c37036ad1" providerId="ADAL" clId="{CA276D41-AFC9-4BEF-B6EE-46680A52C501}" dt="2022-09-22T14:23:27.926" v="3111" actId="478"/>
          <ac:spMkLst>
            <pc:docMk/>
            <pc:sldMk cId="2692276594" sldId="2147470031"/>
            <ac:spMk id="156" creationId="{8A78C84C-3B7A-40AD-89B6-D81EF198D335}"/>
          </ac:spMkLst>
        </pc:spChg>
      </pc:sldChg>
      <pc:sldChg chg="add del">
        <pc:chgData name="Alex Powers" userId="ae4a1fc7-4395-46d3-b2f1-3b3c37036ad1" providerId="ADAL" clId="{CA276D41-AFC9-4BEF-B6EE-46680A52C501}" dt="2022-09-22T14:28:29.458" v="3381" actId="47"/>
        <pc:sldMkLst>
          <pc:docMk/>
          <pc:sldMk cId="400810320" sldId="2147470032"/>
        </pc:sldMkLst>
      </pc:sldChg>
      <pc:sldChg chg="delSp modSp add mod">
        <pc:chgData name="Alex Powers" userId="ae4a1fc7-4395-46d3-b2f1-3b3c37036ad1" providerId="ADAL" clId="{CA276D41-AFC9-4BEF-B6EE-46680A52C501}" dt="2022-09-22T14:39:14.886" v="4514" actId="313"/>
        <pc:sldMkLst>
          <pc:docMk/>
          <pc:sldMk cId="1737087969" sldId="2147470033"/>
        </pc:sldMkLst>
        <pc:spChg chg="mod">
          <ac:chgData name="Alex Powers" userId="ae4a1fc7-4395-46d3-b2f1-3b3c37036ad1" providerId="ADAL" clId="{CA276D41-AFC9-4BEF-B6EE-46680A52C501}" dt="2022-09-22T14:28:37.189" v="3382" actId="207"/>
          <ac:spMkLst>
            <pc:docMk/>
            <pc:sldMk cId="1737087969" sldId="2147470033"/>
            <ac:spMk id="30" creationId="{839F9D70-B90A-48B9-BF7E-5AD2F1CC8279}"/>
          </ac:spMkLst>
        </pc:spChg>
        <pc:spChg chg="mod">
          <ac:chgData name="Alex Powers" userId="ae4a1fc7-4395-46d3-b2f1-3b3c37036ad1" providerId="ADAL" clId="{CA276D41-AFC9-4BEF-B6EE-46680A52C501}" dt="2022-09-22T14:28:40.543" v="3390" actId="20577"/>
          <ac:spMkLst>
            <pc:docMk/>
            <pc:sldMk cId="1737087969" sldId="2147470033"/>
            <ac:spMk id="34" creationId="{C86876B5-5E1B-4EAA-994C-00C61C1F64C5}"/>
          </ac:spMkLst>
        </pc:spChg>
        <pc:spChg chg="mod">
          <ac:chgData name="Alex Powers" userId="ae4a1fc7-4395-46d3-b2f1-3b3c37036ad1" providerId="ADAL" clId="{CA276D41-AFC9-4BEF-B6EE-46680A52C501}" dt="2022-09-22T14:39:14.886" v="4514" actId="313"/>
          <ac:spMkLst>
            <pc:docMk/>
            <pc:sldMk cId="1737087969" sldId="2147470033"/>
            <ac:spMk id="142" creationId="{CE8813FB-2DD8-4D1F-8F33-704BF1DB97F9}"/>
          </ac:spMkLst>
        </pc:spChg>
        <pc:spChg chg="del">
          <ac:chgData name="Alex Powers" userId="ae4a1fc7-4395-46d3-b2f1-3b3c37036ad1" providerId="ADAL" clId="{CA276D41-AFC9-4BEF-B6EE-46680A52C501}" dt="2022-09-22T14:34:13.109" v="3866" actId="478"/>
          <ac:spMkLst>
            <pc:docMk/>
            <pc:sldMk cId="1737087969" sldId="2147470033"/>
            <ac:spMk id="156" creationId="{8A78C84C-3B7A-40AD-89B6-D81EF198D335}"/>
          </ac:spMkLst>
        </pc:spChg>
      </pc:sldChg>
      <pc:sldChg chg="add del">
        <pc:chgData name="Alex Powers" userId="ae4a1fc7-4395-46d3-b2f1-3b3c37036ad1" providerId="ADAL" clId="{CA276D41-AFC9-4BEF-B6EE-46680A52C501}" dt="2022-09-22T15:19:41.639" v="5355" actId="2696"/>
        <pc:sldMkLst>
          <pc:docMk/>
          <pc:sldMk cId="2211797624" sldId="2147470034"/>
        </pc:sldMkLst>
      </pc:sldChg>
      <pc:sldChg chg="add">
        <pc:chgData name="Alex Powers" userId="ae4a1fc7-4395-46d3-b2f1-3b3c37036ad1" providerId="ADAL" clId="{CA276D41-AFC9-4BEF-B6EE-46680A52C501}" dt="2022-09-22T15:19:46.452" v="5356"/>
        <pc:sldMkLst>
          <pc:docMk/>
          <pc:sldMk cId="3440000179" sldId="2147470034"/>
        </pc:sldMkLst>
      </pc:sldChg>
      <pc:sldChg chg="modSp add mod">
        <pc:chgData name="Alex Powers" userId="ae4a1fc7-4395-46d3-b2f1-3b3c37036ad1" providerId="ADAL" clId="{CA276D41-AFC9-4BEF-B6EE-46680A52C501}" dt="2022-09-22T15:20:49.453" v="5404" actId="12789"/>
        <pc:sldMkLst>
          <pc:docMk/>
          <pc:sldMk cId="3435564117" sldId="2147470035"/>
        </pc:sldMkLst>
        <pc:spChg chg="mod">
          <ac:chgData name="Alex Powers" userId="ae4a1fc7-4395-46d3-b2f1-3b3c37036ad1" providerId="ADAL" clId="{CA276D41-AFC9-4BEF-B6EE-46680A52C501}" dt="2022-09-22T15:20:49.453" v="5404" actId="12789"/>
          <ac:spMkLst>
            <pc:docMk/>
            <pc:sldMk cId="3435564117" sldId="2147470035"/>
            <ac:spMk id="3" creationId="{7D784AF8-0564-4CE2-A3F3-ED6D0598904B}"/>
          </ac:spMkLst>
        </pc:spChg>
      </pc:sldChg>
      <pc:sldChg chg="add del">
        <pc:chgData name="Alex Powers" userId="ae4a1fc7-4395-46d3-b2f1-3b3c37036ad1" providerId="ADAL" clId="{CA276D41-AFC9-4BEF-B6EE-46680A52C501}" dt="2022-09-22T15:19:41.639" v="5355" actId="2696"/>
        <pc:sldMkLst>
          <pc:docMk/>
          <pc:sldMk cId="2941731858" sldId="2147470036"/>
        </pc:sldMkLst>
      </pc:sldChg>
      <pc:sldChg chg="add">
        <pc:chgData name="Alex Powers" userId="ae4a1fc7-4395-46d3-b2f1-3b3c37036ad1" providerId="ADAL" clId="{CA276D41-AFC9-4BEF-B6EE-46680A52C501}" dt="2022-09-22T15:19:46.452" v="5356"/>
        <pc:sldMkLst>
          <pc:docMk/>
          <pc:sldMk cId="3394150191" sldId="214747003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8.xml.rels><?xml version="1.0" encoding="UTF-8" standalone="yes"?>
<Relationships xmlns="http://schemas.openxmlformats.org/package/2006/relationships"><Relationship Id="rId8" Type="http://schemas.openxmlformats.org/officeDocument/2006/relationships/image" Target="../media/image240.svg"/><Relationship Id="rId3" Type="http://schemas.openxmlformats.org/officeDocument/2006/relationships/image" Target="../media/image235.png"/><Relationship Id="rId7" Type="http://schemas.openxmlformats.org/officeDocument/2006/relationships/image" Target="../media/image239.png"/><Relationship Id="rId2" Type="http://schemas.openxmlformats.org/officeDocument/2006/relationships/image" Target="../media/image234.svg"/><Relationship Id="rId1" Type="http://schemas.openxmlformats.org/officeDocument/2006/relationships/image" Target="../media/image233.png"/><Relationship Id="rId6" Type="http://schemas.openxmlformats.org/officeDocument/2006/relationships/image" Target="../media/image238.svg"/><Relationship Id="rId5" Type="http://schemas.openxmlformats.org/officeDocument/2006/relationships/image" Target="../media/image237.png"/><Relationship Id="rId4" Type="http://schemas.openxmlformats.org/officeDocument/2006/relationships/image" Target="../media/image236.svg"/></Relationships>
</file>

<file path=ppt/diagrams/_rels/drawing8.xml.rels><?xml version="1.0" encoding="UTF-8" standalone="yes"?>
<Relationships xmlns="http://schemas.openxmlformats.org/package/2006/relationships"><Relationship Id="rId8" Type="http://schemas.openxmlformats.org/officeDocument/2006/relationships/image" Target="../media/image240.svg"/><Relationship Id="rId3" Type="http://schemas.openxmlformats.org/officeDocument/2006/relationships/image" Target="../media/image235.png"/><Relationship Id="rId7" Type="http://schemas.openxmlformats.org/officeDocument/2006/relationships/image" Target="../media/image239.png"/><Relationship Id="rId2" Type="http://schemas.openxmlformats.org/officeDocument/2006/relationships/image" Target="../media/image234.svg"/><Relationship Id="rId1" Type="http://schemas.openxmlformats.org/officeDocument/2006/relationships/image" Target="../media/image233.png"/><Relationship Id="rId6" Type="http://schemas.openxmlformats.org/officeDocument/2006/relationships/image" Target="../media/image238.svg"/><Relationship Id="rId5" Type="http://schemas.openxmlformats.org/officeDocument/2006/relationships/image" Target="../media/image237.png"/><Relationship Id="rId4" Type="http://schemas.openxmlformats.org/officeDocument/2006/relationships/image" Target="../media/image23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6D0A2261-801C-42D8-91A7-2C997EDD487C}">
      <dgm:prSet phldrT="[Text]" custT="1"/>
      <dgm:spPr>
        <a:solidFill>
          <a:schemeClr val="tx1">
            <a:lumMod val="75000"/>
            <a:lumOff val="25000"/>
          </a:schemeClr>
        </a:solidFill>
      </dgm:spPr>
      <dgm:t>
        <a:bodyPr tIns="274320" anchor="t"/>
        <a:lstStyle/>
        <a:p>
          <a:pPr algn="ctr"/>
          <a:r>
            <a:rPr lang="en-US" sz="2000" b="1" dirty="0">
              <a:solidFill>
                <a:schemeClr val="bg1"/>
              </a:solidFill>
              <a:latin typeface="+mj-lt"/>
              <a:cs typeface="Leelawadee" panose="020B0502040204020203" pitchFamily="34" charset="-34"/>
            </a:rPr>
            <a:t>TRANSFORMATIONS</a:t>
          </a:r>
          <a:endParaRPr lang="en-US" sz="2800" b="1" dirty="0">
            <a:solidFill>
              <a:schemeClr val="bg1"/>
            </a:solidFill>
            <a:latin typeface="+mj-lt"/>
            <a:cs typeface="Leelawadee" panose="020B0502040204020203" pitchFamily="34" charset="-34"/>
          </a:endParaRP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dirty="0">
              <a:solidFill>
                <a:schemeClr val="bg1"/>
              </a:solidFill>
              <a:latin typeface="Segoe UI Semibold" panose="020B0702040204020203" pitchFamily="34" charset="0"/>
              <a:cs typeface="Segoe UI Semibold" panose="020B0702040204020203" pitchFamily="34" charset="0"/>
            </a:rPr>
            <a:t>FILTER | SELECT </a:t>
          </a:r>
          <a:r>
            <a:rPr lang="en-US" sz="4400" b="1" dirty="0">
              <a:solidFill>
                <a:schemeClr val="bg1"/>
              </a:solidFill>
              <a:latin typeface="+mj-lt"/>
              <a:cs typeface="Leelawadee" panose="020B0502040204020203" pitchFamily="34" charset="-34"/>
            </a:rPr>
            <a:t>JOINS</a:t>
          </a:r>
          <a:endParaRPr lang="en-US" sz="4400" b="1" dirty="0">
            <a:solidFill>
              <a:schemeClr val="bg1"/>
            </a:solidFill>
            <a:latin typeface="Segoe UI Semibold" panose="020B0702040204020203" pitchFamily="34" charset="0"/>
            <a:cs typeface="Segoe UI Semibold" panose="020B0702040204020203" pitchFamily="34" charset="0"/>
          </a:endParaRP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2">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1" presStyleCnt="2">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1" destOrd="0" parTransId="{DA5ECBCD-81B7-4DEA-AD0F-7038E2360B09}" sibTransId="{3A15FDD4-6CDE-47C3-806C-5EABE354AFB9}"/>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B7CEF5EB-D0E5-4723-B299-CED8675B1F31}" type="presParOf" srcId="{F6CB21B8-B641-4004-8232-3D37DD689D6D}" destId="{9CC71D40-1D49-4FFC-8725-867081C07A41}" srcOrd="1"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2368337"/>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dirty="0">
              <a:solidFill>
                <a:schemeClr val="bg1"/>
              </a:solidFill>
              <a:latin typeface="Segoe UI Semibold" panose="020B0702040204020203" pitchFamily="34" charset="0"/>
              <a:cs typeface="Segoe UI Semibold" panose="020B0702040204020203" pitchFamily="34" charset="0"/>
            </a:rPr>
            <a:t>FILTER | SELECT </a:t>
          </a:r>
          <a:r>
            <a:rPr lang="en-US" sz="4400" b="1" kern="1200" dirty="0">
              <a:solidFill>
                <a:schemeClr val="bg1"/>
              </a:solidFill>
              <a:latin typeface="+mj-lt"/>
              <a:cs typeface="Leelawadee" panose="020B0502040204020203" pitchFamily="34" charset="-34"/>
            </a:rPr>
            <a:t>JOINS</a:t>
          </a:r>
          <a:endParaRPr lang="en-US" sz="4400" b="1" kern="1200" dirty="0">
            <a:solidFill>
              <a:schemeClr val="bg1"/>
            </a:solidFill>
            <a:latin typeface="Segoe UI Semibold" panose="020B0702040204020203" pitchFamily="34" charset="0"/>
            <a:cs typeface="Segoe UI Semibold" panose="020B0702040204020203" pitchFamily="34" charset="0"/>
          </a:endParaRPr>
        </a:p>
      </dsp:txBody>
      <dsp:txXfrm rot="-10800000">
        <a:off x="1243377" y="0"/>
        <a:ext cx="4618258" cy="2368337"/>
      </dsp:txXfrm>
    </dsp:sp>
    <dsp:sp modelId="{3662EC92-002E-4F1B-AE1C-6EF3EC3391A1}">
      <dsp:nvSpPr>
        <dsp:cNvPr id="0" name=""/>
        <dsp:cNvSpPr/>
      </dsp:nvSpPr>
      <dsp:spPr>
        <a:xfrm rot="10800000">
          <a:off x="1776253" y="2368337"/>
          <a:ext cx="3552506" cy="2368337"/>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74320" rIns="25400" bIns="25400" numCol="1" spcCol="1270" anchor="t"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cs typeface="Leelawadee" panose="020B0502040204020203" pitchFamily="34" charset="-34"/>
            </a:rPr>
            <a:t>TRANSFORMATIONS</a:t>
          </a:r>
          <a:endParaRPr lang="en-US" sz="2800" b="1" kern="1200" dirty="0">
            <a:solidFill>
              <a:schemeClr val="bg1"/>
            </a:solidFill>
            <a:latin typeface="+mj-lt"/>
            <a:cs typeface="Leelawadee" panose="020B0502040204020203" pitchFamily="34" charset="-34"/>
          </a:endParaRPr>
        </a:p>
      </dsp:txBody>
      <dsp:txXfrm rot="-10800000">
        <a:off x="1776253" y="2368337"/>
        <a:ext cx="3552506" cy="23683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0/2023 10:19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20/2023 08:1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www.sqlbi.com/ref/power-bi-visuals-reference/" TargetMode="External"/><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961378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693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10: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86339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86031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857382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948392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47379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25330168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27991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688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200253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77957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13674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4654103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28687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5671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27582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84017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9912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39965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13490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0896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1497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9664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15366159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34238526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31197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0891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me departments will want to do their analysis in Excel – lots of finance departments for example. With Power BI, Excel users can access certified data sets to ensure a single source of truth is used regardless of analysis tool.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201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8121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7653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0481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70238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10:4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14112449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10: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98557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6082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631322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Visuals Reference - SQLBI</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75259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27</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28</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29</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30</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31</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32</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34</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35</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36</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37</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38</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dirty="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42</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47</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48</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49</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150</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4</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421430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9</a:t>
            </a:fld>
            <a:endParaRPr lang="en-US"/>
          </a:p>
        </p:txBody>
      </p:sp>
    </p:spTree>
    <p:extLst>
      <p:ext uri="{BB962C8B-B14F-4D97-AF65-F5344CB8AC3E}">
        <p14:creationId xmlns:p14="http://schemas.microsoft.com/office/powerpoint/2010/main" val="2092113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625215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39866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539272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209004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3 0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938158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4</a:t>
            </a:fld>
            <a:endParaRPr lang="en-US"/>
          </a:p>
        </p:txBody>
      </p:sp>
    </p:spTree>
    <p:extLst>
      <p:ext uri="{BB962C8B-B14F-4D97-AF65-F5344CB8AC3E}">
        <p14:creationId xmlns:p14="http://schemas.microsoft.com/office/powerpoint/2010/main" val="347813436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0/2023 08: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5</a:t>
            </a:fld>
            <a:endParaRPr lang="en-US"/>
          </a:p>
        </p:txBody>
      </p:sp>
    </p:spTree>
    <p:extLst>
      <p:ext uri="{BB962C8B-B14F-4D97-AF65-F5344CB8AC3E}">
        <p14:creationId xmlns:p14="http://schemas.microsoft.com/office/powerpoint/2010/main" val="36976750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2.xml"/><Relationship Id="rId4" Type="http://schemas.openxmlformats.org/officeDocument/2006/relationships/slide" Target="../slides/slide26.xml"/></Relationships>
</file>

<file path=ppt/slideLayouts/_rels/slideLayout494.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2.xml"/><Relationship Id="rId4" Type="http://schemas.openxmlformats.org/officeDocument/2006/relationships/slide" Target="../slides/slide26.xml"/></Relationships>
</file>

<file path=ppt/slideLayouts/_rels/slideLayout496.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6.xml"/><Relationship Id="rId4" Type="http://schemas.openxmlformats.org/officeDocument/2006/relationships/slide" Target="../slides/slide51.xml"/></Relationships>
</file>

<file path=ppt/slideLayouts/_rels/slideLayout501.xml.rels><?xml version="1.0" encoding="UTF-8" standalone="yes"?>
<Relationships xmlns="http://schemas.openxmlformats.org/package/2006/relationships"><Relationship Id="rId3" Type="http://schemas.openxmlformats.org/officeDocument/2006/relationships/slide" Target="../slides/slide51.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1.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1.xml"/><Relationship Id="rId4" Type="http://schemas.openxmlformats.org/officeDocument/2006/relationships/slide" Target="../slides/slide26.xml"/></Relationships>
</file>

<file path=ppt/slideLayouts/_rels/slideLayout504.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1.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1.xml"/><Relationship Id="rId4" Type="http://schemas.openxmlformats.org/officeDocument/2006/relationships/slide" Target="../slides/slide26.xml"/></Relationships>
</file>

<file path=ppt/slideLayouts/_rels/slideLayout506.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1.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1.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2.xml"/><Relationship Id="rId4" Type="http://schemas.openxmlformats.org/officeDocument/2006/relationships/slide" Target="../slides/slide26.xml"/></Relationships>
</file>

<file path=ppt/slideLayouts/_rels/slideLayout509.xml.rels><?xml version="1.0" encoding="UTF-8" standalone="yes"?>
<Relationships xmlns="http://schemas.openxmlformats.org/package/2006/relationships"><Relationship Id="rId3" Type="http://schemas.openxmlformats.org/officeDocument/2006/relationships/slide" Target="../slides/slide10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2.xml"/><Relationship Id="rId4" Type="http://schemas.openxmlformats.org/officeDocument/2006/relationships/slide" Target="../slides/slide26.xml"/></Relationships>
</file>

<file path=ppt/slideLayouts/_rels/slideLayout512.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2.xml"/><Relationship Id="rId4" Type="http://schemas.openxmlformats.org/officeDocument/2006/relationships/slide" Target="../slides/slide26.xml"/></Relationships>
</file>

<file path=ppt/slideLayouts/_rels/slideLayout515.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2.xml"/><Relationship Id="rId4" Type="http://schemas.openxmlformats.org/officeDocument/2006/relationships/slide" Target="../slides/slide26.xml"/></Relationships>
</file>

<file path=ppt/slideLayouts/_rels/slideLayout517.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2.xml"/><Relationship Id="rId4" Type="http://schemas.openxmlformats.org/officeDocument/2006/relationships/slide" Target="../slides/slide2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2.xml"/><Relationship Id="rId4" Type="http://schemas.openxmlformats.org/officeDocument/2006/relationships/slide" Target="../slides/slide26.xml"/></Relationships>
</file>

<file path=ppt/slideLayouts/_rels/slideLayout523.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2.xml"/><Relationship Id="rId4" Type="http://schemas.openxmlformats.org/officeDocument/2006/relationships/slide" Target="../slides/slide26.xml"/></Relationships>
</file>

<file path=ppt/slideLayouts/_rels/slideLayout526.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2.xml"/><Relationship Id="rId4" Type="http://schemas.openxmlformats.org/officeDocument/2006/relationships/slide" Target="../slides/slide26.xml"/></Relationships>
</file>

<file path=ppt/slideLayouts/_rels/slideLayout528.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2.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20/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20/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3/20/2023</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3/20/2023</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20/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20/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3/20/2023</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3/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3/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3/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3/2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3/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3/2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3/20/2023</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3.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39.xml"/><Relationship Id="rId21" Type="http://schemas.openxmlformats.org/officeDocument/2006/relationships/slideLayout" Target="../slideLayouts/slideLayout434.xml"/><Relationship Id="rId42" Type="http://schemas.openxmlformats.org/officeDocument/2006/relationships/slideLayout" Target="../slideLayouts/slideLayout455.xml"/><Relationship Id="rId47" Type="http://schemas.openxmlformats.org/officeDocument/2006/relationships/slideLayout" Target="../slideLayouts/slideLayout460.xml"/><Relationship Id="rId63" Type="http://schemas.openxmlformats.org/officeDocument/2006/relationships/slideLayout" Target="../slideLayouts/slideLayout476.xml"/><Relationship Id="rId68" Type="http://schemas.openxmlformats.org/officeDocument/2006/relationships/slideLayout" Target="../slideLayouts/slideLayout481.xml"/><Relationship Id="rId16" Type="http://schemas.openxmlformats.org/officeDocument/2006/relationships/slideLayout" Target="../slideLayouts/slideLayout429.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32" Type="http://schemas.openxmlformats.org/officeDocument/2006/relationships/slideLayout" Target="../slideLayouts/slideLayout445.xml"/><Relationship Id="rId37" Type="http://schemas.openxmlformats.org/officeDocument/2006/relationships/slideLayout" Target="../slideLayouts/slideLayout450.xml"/><Relationship Id="rId40" Type="http://schemas.openxmlformats.org/officeDocument/2006/relationships/slideLayout" Target="../slideLayouts/slideLayout453.xml"/><Relationship Id="rId45" Type="http://schemas.openxmlformats.org/officeDocument/2006/relationships/slideLayout" Target="../slideLayouts/slideLayout458.xml"/><Relationship Id="rId53" Type="http://schemas.openxmlformats.org/officeDocument/2006/relationships/slideLayout" Target="../slideLayouts/slideLayout466.xml"/><Relationship Id="rId58" Type="http://schemas.openxmlformats.org/officeDocument/2006/relationships/slideLayout" Target="../slideLayouts/slideLayout471.xml"/><Relationship Id="rId66" Type="http://schemas.openxmlformats.org/officeDocument/2006/relationships/slideLayout" Target="../slideLayouts/slideLayout479.xml"/><Relationship Id="rId74" Type="http://schemas.openxmlformats.org/officeDocument/2006/relationships/slideLayout" Target="../slideLayouts/slideLayout487.xml"/><Relationship Id="rId5" Type="http://schemas.openxmlformats.org/officeDocument/2006/relationships/slideLayout" Target="../slideLayouts/slideLayout418.xml"/><Relationship Id="rId61" Type="http://schemas.openxmlformats.org/officeDocument/2006/relationships/slideLayout" Target="../slideLayouts/slideLayout474.xml"/><Relationship Id="rId19" Type="http://schemas.openxmlformats.org/officeDocument/2006/relationships/slideLayout" Target="../slideLayouts/slideLayout43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slideLayout" Target="../slideLayouts/slideLayout440.xml"/><Relationship Id="rId30" Type="http://schemas.openxmlformats.org/officeDocument/2006/relationships/slideLayout" Target="../slideLayouts/slideLayout443.xml"/><Relationship Id="rId35" Type="http://schemas.openxmlformats.org/officeDocument/2006/relationships/slideLayout" Target="../slideLayouts/slideLayout448.xml"/><Relationship Id="rId43" Type="http://schemas.openxmlformats.org/officeDocument/2006/relationships/slideLayout" Target="../slideLayouts/slideLayout456.xml"/><Relationship Id="rId48" Type="http://schemas.openxmlformats.org/officeDocument/2006/relationships/slideLayout" Target="../slideLayouts/slideLayout461.xml"/><Relationship Id="rId56" Type="http://schemas.openxmlformats.org/officeDocument/2006/relationships/slideLayout" Target="../slideLayouts/slideLayout469.xml"/><Relationship Id="rId64" Type="http://schemas.openxmlformats.org/officeDocument/2006/relationships/slideLayout" Target="../slideLayouts/slideLayout477.xml"/><Relationship Id="rId69" Type="http://schemas.openxmlformats.org/officeDocument/2006/relationships/slideLayout" Target="../slideLayouts/slideLayout482.xml"/><Relationship Id="rId77" Type="http://schemas.openxmlformats.org/officeDocument/2006/relationships/image" Target="../media/image2.svg"/><Relationship Id="rId8" Type="http://schemas.openxmlformats.org/officeDocument/2006/relationships/slideLayout" Target="../slideLayouts/slideLayout421.xml"/><Relationship Id="rId51" Type="http://schemas.openxmlformats.org/officeDocument/2006/relationships/slideLayout" Target="../slideLayouts/slideLayout464.xml"/><Relationship Id="rId72" Type="http://schemas.openxmlformats.org/officeDocument/2006/relationships/slideLayout" Target="../slideLayouts/slideLayout485.xml"/><Relationship Id="rId3" Type="http://schemas.openxmlformats.org/officeDocument/2006/relationships/slideLayout" Target="../slideLayouts/slideLayout416.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slideLayout" Target="../slideLayouts/slideLayout438.xml"/><Relationship Id="rId33" Type="http://schemas.openxmlformats.org/officeDocument/2006/relationships/slideLayout" Target="../slideLayouts/slideLayout446.xml"/><Relationship Id="rId38" Type="http://schemas.openxmlformats.org/officeDocument/2006/relationships/slideLayout" Target="../slideLayouts/slideLayout451.xml"/><Relationship Id="rId46" Type="http://schemas.openxmlformats.org/officeDocument/2006/relationships/slideLayout" Target="../slideLayouts/slideLayout459.xml"/><Relationship Id="rId59" Type="http://schemas.openxmlformats.org/officeDocument/2006/relationships/slideLayout" Target="../slideLayouts/slideLayout472.xml"/><Relationship Id="rId67" Type="http://schemas.openxmlformats.org/officeDocument/2006/relationships/slideLayout" Target="../slideLayouts/slideLayout480.xml"/><Relationship Id="rId20" Type="http://schemas.openxmlformats.org/officeDocument/2006/relationships/slideLayout" Target="../slideLayouts/slideLayout433.xml"/><Relationship Id="rId41" Type="http://schemas.openxmlformats.org/officeDocument/2006/relationships/slideLayout" Target="../slideLayouts/slideLayout454.xml"/><Relationship Id="rId54" Type="http://schemas.openxmlformats.org/officeDocument/2006/relationships/slideLayout" Target="../slideLayouts/slideLayout467.xml"/><Relationship Id="rId62" Type="http://schemas.openxmlformats.org/officeDocument/2006/relationships/slideLayout" Target="../slideLayouts/slideLayout475.xml"/><Relationship Id="rId70" Type="http://schemas.openxmlformats.org/officeDocument/2006/relationships/slideLayout" Target="../slideLayouts/slideLayout483.xml"/><Relationship Id="rId75" Type="http://schemas.openxmlformats.org/officeDocument/2006/relationships/theme" Target="../theme/theme10.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28" Type="http://schemas.openxmlformats.org/officeDocument/2006/relationships/slideLayout" Target="../slideLayouts/slideLayout441.xml"/><Relationship Id="rId36" Type="http://schemas.openxmlformats.org/officeDocument/2006/relationships/slideLayout" Target="../slideLayouts/slideLayout449.xml"/><Relationship Id="rId49" Type="http://schemas.openxmlformats.org/officeDocument/2006/relationships/slideLayout" Target="../slideLayouts/slideLayout462.xml"/><Relationship Id="rId57" Type="http://schemas.openxmlformats.org/officeDocument/2006/relationships/slideLayout" Target="../slideLayouts/slideLayout470.xml"/><Relationship Id="rId10" Type="http://schemas.openxmlformats.org/officeDocument/2006/relationships/slideLayout" Target="../slideLayouts/slideLayout423.xml"/><Relationship Id="rId31" Type="http://schemas.openxmlformats.org/officeDocument/2006/relationships/slideLayout" Target="../slideLayouts/slideLayout444.xml"/><Relationship Id="rId44" Type="http://schemas.openxmlformats.org/officeDocument/2006/relationships/slideLayout" Target="../slideLayouts/slideLayout457.xml"/><Relationship Id="rId52" Type="http://schemas.openxmlformats.org/officeDocument/2006/relationships/slideLayout" Target="../slideLayouts/slideLayout465.xml"/><Relationship Id="rId60" Type="http://schemas.openxmlformats.org/officeDocument/2006/relationships/slideLayout" Target="../slideLayouts/slideLayout473.xml"/><Relationship Id="rId65" Type="http://schemas.openxmlformats.org/officeDocument/2006/relationships/slideLayout" Target="../slideLayouts/slideLayout478.xml"/><Relationship Id="rId73" Type="http://schemas.openxmlformats.org/officeDocument/2006/relationships/slideLayout" Target="../slideLayouts/slideLayout486.xml"/><Relationship Id="rId78" Type="http://schemas.openxmlformats.org/officeDocument/2006/relationships/image" Target="../media/image3.emf"/><Relationship Id="rId4" Type="http://schemas.openxmlformats.org/officeDocument/2006/relationships/slideLayout" Target="../slideLayouts/slideLayout417.xml"/><Relationship Id="rId9" Type="http://schemas.openxmlformats.org/officeDocument/2006/relationships/slideLayout" Target="../slideLayouts/slideLayout422.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39" Type="http://schemas.openxmlformats.org/officeDocument/2006/relationships/slideLayout" Target="../slideLayouts/slideLayout452.xml"/><Relationship Id="rId34" Type="http://schemas.openxmlformats.org/officeDocument/2006/relationships/slideLayout" Target="../slideLayouts/slideLayout447.xml"/><Relationship Id="rId50" Type="http://schemas.openxmlformats.org/officeDocument/2006/relationships/slideLayout" Target="../slideLayouts/slideLayout463.xml"/><Relationship Id="rId55" Type="http://schemas.openxmlformats.org/officeDocument/2006/relationships/slideLayout" Target="../slideLayouts/slideLayout468.xml"/><Relationship Id="rId76" Type="http://schemas.openxmlformats.org/officeDocument/2006/relationships/image" Target="../media/image1.png"/><Relationship Id="rId7" Type="http://schemas.openxmlformats.org/officeDocument/2006/relationships/slideLayout" Target="../slideLayouts/slideLayout420.xml"/><Relationship Id="rId71" Type="http://schemas.openxmlformats.org/officeDocument/2006/relationships/slideLayout" Target="../slideLayouts/slideLayout484.xml"/><Relationship Id="rId2" Type="http://schemas.openxmlformats.org/officeDocument/2006/relationships/slideLayout" Target="../slideLayouts/slideLayout415.xml"/><Relationship Id="rId29" Type="http://schemas.openxmlformats.org/officeDocument/2006/relationships/slideLayout" Target="../slideLayouts/slideLayout44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26" Type="http://schemas.openxmlformats.org/officeDocument/2006/relationships/slideLayout" Target="../slideLayouts/slideLayout513.xml"/><Relationship Id="rId39" Type="http://schemas.openxmlformats.org/officeDocument/2006/relationships/slideLayout" Target="../slideLayouts/slideLayout526.xml"/><Relationship Id="rId21" Type="http://schemas.openxmlformats.org/officeDocument/2006/relationships/slideLayout" Target="../slideLayouts/slideLayout508.xml"/><Relationship Id="rId34" Type="http://schemas.openxmlformats.org/officeDocument/2006/relationships/slideLayout" Target="../slideLayouts/slideLayout521.xml"/><Relationship Id="rId42" Type="http://schemas.openxmlformats.org/officeDocument/2006/relationships/slideLayout" Target="../slideLayouts/slideLayout529.xml"/><Relationship Id="rId7" Type="http://schemas.openxmlformats.org/officeDocument/2006/relationships/slideLayout" Target="../slideLayouts/slideLayout49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29" Type="http://schemas.openxmlformats.org/officeDocument/2006/relationships/slideLayout" Target="../slideLayouts/slideLayout516.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24" Type="http://schemas.openxmlformats.org/officeDocument/2006/relationships/slideLayout" Target="../slideLayouts/slideLayout511.xml"/><Relationship Id="rId32" Type="http://schemas.openxmlformats.org/officeDocument/2006/relationships/slideLayout" Target="../slideLayouts/slideLayout519.xml"/><Relationship Id="rId37" Type="http://schemas.openxmlformats.org/officeDocument/2006/relationships/slideLayout" Target="../slideLayouts/slideLayout524.xml"/><Relationship Id="rId40" Type="http://schemas.openxmlformats.org/officeDocument/2006/relationships/slideLayout" Target="../slideLayouts/slideLayout527.xml"/><Relationship Id="rId45" Type="http://schemas.openxmlformats.org/officeDocument/2006/relationships/image" Target="../media/image74.jpeg"/><Relationship Id="rId5" Type="http://schemas.openxmlformats.org/officeDocument/2006/relationships/slideLayout" Target="../slideLayouts/slideLayout492.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28" Type="http://schemas.openxmlformats.org/officeDocument/2006/relationships/slideLayout" Target="../slideLayouts/slideLayout515.xml"/><Relationship Id="rId36" Type="http://schemas.openxmlformats.org/officeDocument/2006/relationships/slideLayout" Target="../slideLayouts/slideLayout523.xml"/><Relationship Id="rId10" Type="http://schemas.openxmlformats.org/officeDocument/2006/relationships/slideLayout" Target="../slideLayouts/slideLayout497.xml"/><Relationship Id="rId19" Type="http://schemas.openxmlformats.org/officeDocument/2006/relationships/slideLayout" Target="../slideLayouts/slideLayout506.xml"/><Relationship Id="rId31" Type="http://schemas.openxmlformats.org/officeDocument/2006/relationships/slideLayout" Target="../slideLayouts/slideLayout518.xml"/><Relationship Id="rId44" Type="http://schemas.openxmlformats.org/officeDocument/2006/relationships/image" Target="../media/image46.emf"/><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slideLayout" Target="../slideLayouts/slideLayout514.xml"/><Relationship Id="rId30" Type="http://schemas.openxmlformats.org/officeDocument/2006/relationships/slideLayout" Target="../slideLayouts/slideLayout517.xml"/><Relationship Id="rId35" Type="http://schemas.openxmlformats.org/officeDocument/2006/relationships/slideLayout" Target="../slideLayouts/slideLayout522.xml"/><Relationship Id="rId43" Type="http://schemas.openxmlformats.org/officeDocument/2006/relationships/theme" Target="../theme/theme11.xml"/><Relationship Id="rId8" Type="http://schemas.openxmlformats.org/officeDocument/2006/relationships/slideLayout" Target="../slideLayouts/slideLayout495.xml"/><Relationship Id="rId3" Type="http://schemas.openxmlformats.org/officeDocument/2006/relationships/slideLayout" Target="../slideLayouts/slideLayout490.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33" Type="http://schemas.openxmlformats.org/officeDocument/2006/relationships/slideLayout" Target="../slideLayouts/slideLayout520.xml"/><Relationship Id="rId38" Type="http://schemas.openxmlformats.org/officeDocument/2006/relationships/slideLayout" Target="../slideLayouts/slideLayout525.xml"/><Relationship Id="rId20" Type="http://schemas.openxmlformats.org/officeDocument/2006/relationships/slideLayout" Target="../slideLayouts/slideLayout507.xml"/><Relationship Id="rId41" Type="http://schemas.openxmlformats.org/officeDocument/2006/relationships/slideLayout" Target="../slideLayouts/slideLayout52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theme" Target="../theme/theme12.xml"/><Relationship Id="rId3" Type="http://schemas.openxmlformats.org/officeDocument/2006/relationships/slideLayout" Target="../slideLayouts/slideLayout532.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2" Type="http://schemas.openxmlformats.org/officeDocument/2006/relationships/slideLayout" Target="../slideLayouts/slideLayout531.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5" Type="http://schemas.openxmlformats.org/officeDocument/2006/relationships/slideLayout" Target="../slideLayouts/slideLayout534.xml"/><Relationship Id="rId10" Type="http://schemas.openxmlformats.org/officeDocument/2006/relationships/slideLayout" Target="../slideLayouts/slideLayout539.xml"/><Relationship Id="rId4" Type="http://schemas.openxmlformats.org/officeDocument/2006/relationships/slideLayout" Target="../slideLayouts/slideLayout533.xml"/><Relationship Id="rId9" Type="http://schemas.openxmlformats.org/officeDocument/2006/relationships/slideLayout" Target="../slideLayouts/slideLayout5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image" Target="../media/image21.png"/><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theme" Target="../theme/theme2.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8" Type="http://schemas.openxmlformats.org/officeDocument/2006/relationships/slideLayout" Target="../slideLayouts/slideLayout88.xml"/><Relationship Id="rId3"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3.xml"/><Relationship Id="rId21" Type="http://schemas.openxmlformats.org/officeDocument/2006/relationships/slideLayout" Target="../slideLayouts/slideLayout138.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63" Type="http://schemas.openxmlformats.org/officeDocument/2006/relationships/slideLayout" Target="../slideLayouts/slideLayout180.xml"/><Relationship Id="rId68" Type="http://schemas.openxmlformats.org/officeDocument/2006/relationships/slideLayout" Target="../slideLayouts/slideLayout185.xml"/><Relationship Id="rId16" Type="http://schemas.openxmlformats.org/officeDocument/2006/relationships/slideLayout" Target="../slideLayouts/slideLayout13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3" Type="http://schemas.openxmlformats.org/officeDocument/2006/relationships/slideLayout" Target="../slideLayouts/slideLayout170.xml"/><Relationship Id="rId58" Type="http://schemas.openxmlformats.org/officeDocument/2006/relationships/slideLayout" Target="../slideLayouts/slideLayout175.xml"/><Relationship Id="rId66" Type="http://schemas.openxmlformats.org/officeDocument/2006/relationships/slideLayout" Target="../slideLayouts/slideLayout183.xml"/><Relationship Id="rId74" Type="http://schemas.openxmlformats.org/officeDocument/2006/relationships/theme" Target="../theme/theme3.xml"/><Relationship Id="rId5" Type="http://schemas.openxmlformats.org/officeDocument/2006/relationships/slideLayout" Target="../slideLayouts/slideLayout122.xml"/><Relationship Id="rId61" Type="http://schemas.openxmlformats.org/officeDocument/2006/relationships/slideLayout" Target="../slideLayouts/slideLayout178.xml"/><Relationship Id="rId19" Type="http://schemas.openxmlformats.org/officeDocument/2006/relationships/slideLayout" Target="../slideLayouts/slideLayout13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56" Type="http://schemas.openxmlformats.org/officeDocument/2006/relationships/slideLayout" Target="../slideLayouts/slideLayout173.xml"/><Relationship Id="rId64" Type="http://schemas.openxmlformats.org/officeDocument/2006/relationships/slideLayout" Target="../slideLayouts/slideLayout181.xml"/><Relationship Id="rId69" Type="http://schemas.openxmlformats.org/officeDocument/2006/relationships/slideLayout" Target="../slideLayouts/slideLayout186.xml"/><Relationship Id="rId77" Type="http://schemas.openxmlformats.org/officeDocument/2006/relationships/image" Target="../media/image3.emf"/><Relationship Id="rId8" Type="http://schemas.openxmlformats.org/officeDocument/2006/relationships/slideLayout" Target="../slideLayouts/slideLayout125.xml"/><Relationship Id="rId51" Type="http://schemas.openxmlformats.org/officeDocument/2006/relationships/slideLayout" Target="../slideLayouts/slideLayout168.xml"/><Relationship Id="rId72" Type="http://schemas.openxmlformats.org/officeDocument/2006/relationships/slideLayout" Target="../slideLayouts/slideLayout189.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59" Type="http://schemas.openxmlformats.org/officeDocument/2006/relationships/slideLayout" Target="../slideLayouts/slideLayout176.xml"/><Relationship Id="rId67" Type="http://schemas.openxmlformats.org/officeDocument/2006/relationships/slideLayout" Target="../slideLayouts/slideLayout184.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54" Type="http://schemas.openxmlformats.org/officeDocument/2006/relationships/slideLayout" Target="../slideLayouts/slideLayout171.xml"/><Relationship Id="rId62" Type="http://schemas.openxmlformats.org/officeDocument/2006/relationships/slideLayout" Target="../slideLayouts/slideLayout179.xml"/><Relationship Id="rId70" Type="http://schemas.openxmlformats.org/officeDocument/2006/relationships/slideLayout" Target="../slideLayouts/slideLayout187.xml"/><Relationship Id="rId75" Type="http://schemas.openxmlformats.org/officeDocument/2006/relationships/image" Target="../media/image1.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 Id="rId57" Type="http://schemas.openxmlformats.org/officeDocument/2006/relationships/slideLayout" Target="../slideLayouts/slideLayout174.xml"/><Relationship Id="rId10" Type="http://schemas.openxmlformats.org/officeDocument/2006/relationships/slideLayout" Target="../slideLayouts/slideLayout127.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slideLayout" Target="../slideLayouts/slideLayout169.xml"/><Relationship Id="rId60" Type="http://schemas.openxmlformats.org/officeDocument/2006/relationships/slideLayout" Target="../slideLayouts/slideLayout177.xml"/><Relationship Id="rId65" Type="http://schemas.openxmlformats.org/officeDocument/2006/relationships/slideLayout" Target="../slideLayouts/slideLayout182.xml"/><Relationship Id="rId73" Type="http://schemas.openxmlformats.org/officeDocument/2006/relationships/slideLayout" Target="../slideLayouts/slideLayout190.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9" Type="http://schemas.openxmlformats.org/officeDocument/2006/relationships/slideLayout" Target="../slideLayouts/slideLayout156.xml"/><Relationship Id="rId34" Type="http://schemas.openxmlformats.org/officeDocument/2006/relationships/slideLayout" Target="../slideLayouts/slideLayout151.xml"/><Relationship Id="rId50" Type="http://schemas.openxmlformats.org/officeDocument/2006/relationships/slideLayout" Target="../slideLayouts/slideLayout167.xml"/><Relationship Id="rId55" Type="http://schemas.openxmlformats.org/officeDocument/2006/relationships/slideLayout" Target="../slideLayouts/slideLayout172.xml"/><Relationship Id="rId76" Type="http://schemas.openxmlformats.org/officeDocument/2006/relationships/image" Target="../media/image2.svg"/><Relationship Id="rId7" Type="http://schemas.openxmlformats.org/officeDocument/2006/relationships/slideLayout" Target="../slideLayouts/slideLayout124.xml"/><Relationship Id="rId71" Type="http://schemas.openxmlformats.org/officeDocument/2006/relationships/slideLayout" Target="../slideLayouts/slideLayout188.xml"/><Relationship Id="rId2" Type="http://schemas.openxmlformats.org/officeDocument/2006/relationships/slideLayout" Target="../slideLayouts/slideLayout119.xml"/><Relationship Id="rId29" Type="http://schemas.openxmlformats.org/officeDocument/2006/relationships/slideLayout" Target="../slideLayouts/slideLayout1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image" Target="../media/image40.emf"/><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theme" Target="../theme/theme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21" Type="http://schemas.openxmlformats.org/officeDocument/2006/relationships/slideLayout" Target="../slideLayouts/slideLayout234.xml"/><Relationship Id="rId34" Type="http://schemas.openxmlformats.org/officeDocument/2006/relationships/slideLayout" Target="../slideLayouts/slideLayout247.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slideLayout" Target="../slideLayouts/slideLayout246.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slideLayout" Target="../slideLayouts/slideLayout245.xml"/><Relationship Id="rId37" Type="http://schemas.openxmlformats.org/officeDocument/2006/relationships/image" Target="../media/image46.emf"/><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36" Type="http://schemas.openxmlformats.org/officeDocument/2006/relationships/theme" Target="../theme/theme5.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 Id="rId35" Type="http://schemas.openxmlformats.org/officeDocument/2006/relationships/slideLayout" Target="../slideLayouts/slideLayout248.xml"/><Relationship Id="rId8" Type="http://schemas.openxmlformats.org/officeDocument/2006/relationships/slideLayout" Target="../slideLayouts/slideLayout221.xml"/><Relationship Id="rId3" Type="http://schemas.openxmlformats.org/officeDocument/2006/relationships/slideLayout" Target="../slideLayouts/slideLayout21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theme" Target="../theme/theme6.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slideLayout" Target="../slideLayouts/slideLayout281.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35" Type="http://schemas.openxmlformats.org/officeDocument/2006/relationships/image" Target="../media/image46.emf"/><Relationship Id="rId8" Type="http://schemas.openxmlformats.org/officeDocument/2006/relationships/slideLayout" Target="../slideLayouts/slideLayout25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9" Type="http://schemas.openxmlformats.org/officeDocument/2006/relationships/image" Target="../media/image21.png"/><Relationship Id="rId21" Type="http://schemas.openxmlformats.org/officeDocument/2006/relationships/slideLayout" Target="../slideLayouts/slideLayout302.xml"/><Relationship Id="rId34" Type="http://schemas.openxmlformats.org/officeDocument/2006/relationships/slideLayout" Target="../slideLayouts/slideLayout315.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slideLayout" Target="../slideLayouts/slideLayout314.xml"/><Relationship Id="rId38" Type="http://schemas.openxmlformats.org/officeDocument/2006/relationships/theme" Target="../theme/theme7.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slideLayout" Target="../slideLayouts/slideLayout313.xml"/><Relationship Id="rId37" Type="http://schemas.openxmlformats.org/officeDocument/2006/relationships/slideLayout" Target="../slideLayouts/slideLayout318.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36" Type="http://schemas.openxmlformats.org/officeDocument/2006/relationships/slideLayout" Target="../slideLayouts/slideLayout317.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slideLayout" Target="../slideLayouts/slideLayout312.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slideLayout" Target="../slideLayouts/slideLayout311.xml"/><Relationship Id="rId35" Type="http://schemas.openxmlformats.org/officeDocument/2006/relationships/slideLayout" Target="../slideLayouts/slideLayout316.xml"/><Relationship Id="rId8" Type="http://schemas.openxmlformats.org/officeDocument/2006/relationships/slideLayout" Target="../slideLayouts/slideLayout289.xml"/><Relationship Id="rId3" Type="http://schemas.openxmlformats.org/officeDocument/2006/relationships/slideLayout" Target="../slideLayouts/slideLayout284.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4.xml"/><Relationship Id="rId21" Type="http://schemas.openxmlformats.org/officeDocument/2006/relationships/slideLayout" Target="../slideLayouts/slideLayout339.xml"/><Relationship Id="rId42" Type="http://schemas.openxmlformats.org/officeDocument/2006/relationships/slideLayout" Target="../slideLayouts/slideLayout360.xml"/><Relationship Id="rId47" Type="http://schemas.openxmlformats.org/officeDocument/2006/relationships/slideLayout" Target="../slideLayouts/slideLayout365.xml"/><Relationship Id="rId63" Type="http://schemas.openxmlformats.org/officeDocument/2006/relationships/slideLayout" Target="../slideLayouts/slideLayout381.xml"/><Relationship Id="rId68" Type="http://schemas.openxmlformats.org/officeDocument/2006/relationships/slideLayout" Target="../slideLayouts/slideLayout386.xml"/><Relationship Id="rId16" Type="http://schemas.openxmlformats.org/officeDocument/2006/relationships/slideLayout" Target="../slideLayouts/slideLayout33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slideLayout" Target="../slideLayouts/slideLayout350.xml"/><Relationship Id="rId37" Type="http://schemas.openxmlformats.org/officeDocument/2006/relationships/slideLayout" Target="../slideLayouts/slideLayout355.xml"/><Relationship Id="rId40" Type="http://schemas.openxmlformats.org/officeDocument/2006/relationships/slideLayout" Target="../slideLayouts/slideLayout358.xml"/><Relationship Id="rId45" Type="http://schemas.openxmlformats.org/officeDocument/2006/relationships/slideLayout" Target="../slideLayouts/slideLayout363.xml"/><Relationship Id="rId53" Type="http://schemas.openxmlformats.org/officeDocument/2006/relationships/slideLayout" Target="../slideLayouts/slideLayout371.xml"/><Relationship Id="rId58" Type="http://schemas.openxmlformats.org/officeDocument/2006/relationships/slideLayout" Target="../slideLayouts/slideLayout376.xml"/><Relationship Id="rId66" Type="http://schemas.openxmlformats.org/officeDocument/2006/relationships/slideLayout" Target="../slideLayouts/slideLayout384.xml"/><Relationship Id="rId74" Type="http://schemas.openxmlformats.org/officeDocument/2006/relationships/slideLayout" Target="../slideLayouts/slideLayout392.xml"/><Relationship Id="rId5" Type="http://schemas.openxmlformats.org/officeDocument/2006/relationships/slideLayout" Target="../slideLayouts/slideLayout323.xml"/><Relationship Id="rId61" Type="http://schemas.openxmlformats.org/officeDocument/2006/relationships/slideLayout" Target="../slideLayouts/slideLayout379.xml"/><Relationship Id="rId19" Type="http://schemas.openxmlformats.org/officeDocument/2006/relationships/slideLayout" Target="../slideLayouts/slideLayout33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35" Type="http://schemas.openxmlformats.org/officeDocument/2006/relationships/slideLayout" Target="../slideLayouts/slideLayout353.xml"/><Relationship Id="rId43" Type="http://schemas.openxmlformats.org/officeDocument/2006/relationships/slideLayout" Target="../slideLayouts/slideLayout361.xml"/><Relationship Id="rId48" Type="http://schemas.openxmlformats.org/officeDocument/2006/relationships/slideLayout" Target="../slideLayouts/slideLayout366.xml"/><Relationship Id="rId56" Type="http://schemas.openxmlformats.org/officeDocument/2006/relationships/slideLayout" Target="../slideLayouts/slideLayout374.xml"/><Relationship Id="rId64" Type="http://schemas.openxmlformats.org/officeDocument/2006/relationships/slideLayout" Target="../slideLayouts/slideLayout382.xml"/><Relationship Id="rId69" Type="http://schemas.openxmlformats.org/officeDocument/2006/relationships/slideLayout" Target="../slideLayouts/slideLayout387.xml"/><Relationship Id="rId77" Type="http://schemas.openxmlformats.org/officeDocument/2006/relationships/image" Target="../media/image2.svg"/><Relationship Id="rId8" Type="http://schemas.openxmlformats.org/officeDocument/2006/relationships/slideLayout" Target="../slideLayouts/slideLayout326.xml"/><Relationship Id="rId51" Type="http://schemas.openxmlformats.org/officeDocument/2006/relationships/slideLayout" Target="../slideLayouts/slideLayout369.xml"/><Relationship Id="rId72" Type="http://schemas.openxmlformats.org/officeDocument/2006/relationships/slideLayout" Target="../slideLayouts/slideLayout390.xml"/><Relationship Id="rId3" Type="http://schemas.openxmlformats.org/officeDocument/2006/relationships/slideLayout" Target="../slideLayouts/slideLayout321.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slideLayout" Target="../slideLayouts/slideLayout351.xml"/><Relationship Id="rId38" Type="http://schemas.openxmlformats.org/officeDocument/2006/relationships/slideLayout" Target="../slideLayouts/slideLayout356.xml"/><Relationship Id="rId46" Type="http://schemas.openxmlformats.org/officeDocument/2006/relationships/slideLayout" Target="../slideLayouts/slideLayout364.xml"/><Relationship Id="rId59" Type="http://schemas.openxmlformats.org/officeDocument/2006/relationships/slideLayout" Target="../slideLayouts/slideLayout377.xml"/><Relationship Id="rId67" Type="http://schemas.openxmlformats.org/officeDocument/2006/relationships/slideLayout" Target="../slideLayouts/slideLayout385.xml"/><Relationship Id="rId20" Type="http://schemas.openxmlformats.org/officeDocument/2006/relationships/slideLayout" Target="../slideLayouts/slideLayout338.xml"/><Relationship Id="rId41" Type="http://schemas.openxmlformats.org/officeDocument/2006/relationships/slideLayout" Target="../slideLayouts/slideLayout359.xml"/><Relationship Id="rId54" Type="http://schemas.openxmlformats.org/officeDocument/2006/relationships/slideLayout" Target="../slideLayouts/slideLayout372.xml"/><Relationship Id="rId62" Type="http://schemas.openxmlformats.org/officeDocument/2006/relationships/slideLayout" Target="../slideLayouts/slideLayout380.xml"/><Relationship Id="rId70" Type="http://schemas.openxmlformats.org/officeDocument/2006/relationships/slideLayout" Target="../slideLayouts/slideLayout388.xml"/><Relationship Id="rId75" Type="http://schemas.openxmlformats.org/officeDocument/2006/relationships/theme" Target="../theme/theme8.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36" Type="http://schemas.openxmlformats.org/officeDocument/2006/relationships/slideLayout" Target="../slideLayouts/slideLayout354.xml"/><Relationship Id="rId49" Type="http://schemas.openxmlformats.org/officeDocument/2006/relationships/slideLayout" Target="../slideLayouts/slideLayout367.xml"/><Relationship Id="rId57" Type="http://schemas.openxmlformats.org/officeDocument/2006/relationships/slideLayout" Target="../slideLayouts/slideLayout375.xml"/><Relationship Id="rId10" Type="http://schemas.openxmlformats.org/officeDocument/2006/relationships/slideLayout" Target="../slideLayouts/slideLayout328.xml"/><Relationship Id="rId31" Type="http://schemas.openxmlformats.org/officeDocument/2006/relationships/slideLayout" Target="../slideLayouts/slideLayout349.xml"/><Relationship Id="rId44" Type="http://schemas.openxmlformats.org/officeDocument/2006/relationships/slideLayout" Target="../slideLayouts/slideLayout362.xml"/><Relationship Id="rId52" Type="http://schemas.openxmlformats.org/officeDocument/2006/relationships/slideLayout" Target="../slideLayouts/slideLayout370.xml"/><Relationship Id="rId60" Type="http://schemas.openxmlformats.org/officeDocument/2006/relationships/slideLayout" Target="../slideLayouts/slideLayout378.xml"/><Relationship Id="rId65" Type="http://schemas.openxmlformats.org/officeDocument/2006/relationships/slideLayout" Target="../slideLayouts/slideLayout383.xml"/><Relationship Id="rId73" Type="http://schemas.openxmlformats.org/officeDocument/2006/relationships/slideLayout" Target="../slideLayouts/slideLayout391.xml"/><Relationship Id="rId78" Type="http://schemas.openxmlformats.org/officeDocument/2006/relationships/image" Target="../media/image3.emf"/><Relationship Id="rId4" Type="http://schemas.openxmlformats.org/officeDocument/2006/relationships/slideLayout" Target="../slideLayouts/slideLayout322.xml"/><Relationship Id="rId9" Type="http://schemas.openxmlformats.org/officeDocument/2006/relationships/slideLayout" Target="../slideLayouts/slideLayout327.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39" Type="http://schemas.openxmlformats.org/officeDocument/2006/relationships/slideLayout" Target="../slideLayouts/slideLayout357.xml"/><Relationship Id="rId34" Type="http://schemas.openxmlformats.org/officeDocument/2006/relationships/slideLayout" Target="../slideLayouts/slideLayout352.xml"/><Relationship Id="rId50" Type="http://schemas.openxmlformats.org/officeDocument/2006/relationships/slideLayout" Target="../slideLayouts/slideLayout368.xml"/><Relationship Id="rId55" Type="http://schemas.openxmlformats.org/officeDocument/2006/relationships/slideLayout" Target="../slideLayouts/slideLayout373.xml"/><Relationship Id="rId76" Type="http://schemas.openxmlformats.org/officeDocument/2006/relationships/image" Target="../media/image1.png"/><Relationship Id="rId7" Type="http://schemas.openxmlformats.org/officeDocument/2006/relationships/slideLayout" Target="../slideLayouts/slideLayout325.xml"/><Relationship Id="rId71" Type="http://schemas.openxmlformats.org/officeDocument/2006/relationships/slideLayout" Target="../slideLayouts/slideLayout389.xml"/><Relationship Id="rId2" Type="http://schemas.openxmlformats.org/officeDocument/2006/relationships/slideLayout" Target="../slideLayouts/slideLayout320.xml"/><Relationship Id="rId29" Type="http://schemas.openxmlformats.org/officeDocument/2006/relationships/slideLayout" Target="../slideLayouts/slideLayout3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image" Target="../media/image66.emf"/><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2">
              <a:extLst>
                <a:ext uri="{96DAC541-7B7A-43D3-8B79-37D633B846F1}">
                  <asvg:svgBlip xmlns:asvg="http://schemas.microsoft.com/office/drawing/2016/SVG/main" r:embed="rId83"/>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4"/>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2" r:id="rId75"/>
    <p:sldLayoutId id="2147485104" r:id="rId76"/>
    <p:sldLayoutId id="2147485291" r:id="rId77"/>
    <p:sldLayoutId id="2147485292" r:id="rId78"/>
    <p:sldLayoutId id="2147485313" r:id="rId79"/>
    <p:sldLayoutId id="2147485314" r:id="rId80"/>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3/20/2023</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CharacterPosition.pq" TargetMode="External"/><Relationship Id="rId13" Type="http://schemas.openxmlformats.org/officeDocument/2006/relationships/hyperlink" Target="https://www.sqlbi.com/training/" TargetMode="External"/><Relationship Id="rId18" Type="http://schemas.openxmlformats.org/officeDocument/2006/relationships/hyperlink" Target="https://aka.ms/pbiguidance" TargetMode="External"/><Relationship Id="rId3" Type="http://schemas.openxmlformats.org/officeDocument/2006/relationships/hyperlink" Target="https://aka.ms/pbiworkshops" TargetMode="External"/><Relationship Id="rId7" Type="http://schemas.openxmlformats.org/officeDocument/2006/relationships/hyperlink" Target="https://radacad.com/power-query-library-of-functions-shared-keyword" TargetMode="External"/><Relationship Id="rId12" Type="http://schemas.openxmlformats.org/officeDocument/2006/relationships/hyperlink" Target="https://www.microsoftpressstore.com/articles/article.aspx?p=2449192" TargetMode="External"/><Relationship Id="rId17" Type="http://schemas.openxmlformats.org/officeDocument/2006/relationships/hyperlink" Target="https://powerbi.microsoft.com/en-us/customer-showcase/" TargetMode="External"/><Relationship Id="rId2" Type="http://schemas.openxmlformats.org/officeDocument/2006/relationships/notesSlide" Target="../notesSlides/notesSlide1.xml"/><Relationship Id="rId16" Type="http://schemas.openxmlformats.org/officeDocument/2006/relationships/hyperlink" Target="https://ssbipolar.com/building-a-data-culture/" TargetMode="External"/><Relationship Id="rId1" Type="http://schemas.openxmlformats.org/officeDocument/2006/relationships/slideLayout" Target="../slideLayouts/slideLayout10.xml"/><Relationship Id="rId6" Type="http://schemas.openxmlformats.org/officeDocument/2006/relationships/hyperlink" Target="https://marketplace.visualstudio.com/items?itemName=PowerQuery.vscode-powerquery" TargetMode="External"/><Relationship Id="rId11" Type="http://schemas.openxmlformats.org/officeDocument/2006/relationships/hyperlink" Target="https://www.youtube.com/watch?v=s0j6d3UAw9U&amp;list=PLv2BtOtLblH3lwpQ5NBq6kD6fsVziO9sE" TargetMode="External"/><Relationship Id="rId5" Type="http://schemas.openxmlformats.org/officeDocument/2006/relationships/hyperlink" Target="https://docs.microsoft.com/en-us/power-query/installingsdk" TargetMode="External"/><Relationship Id="rId15" Type="http://schemas.openxmlformats.org/officeDocument/2006/relationships/hyperlink" Target="https://alluringbi.com/2020/05/05/themeable-backgrounds-for-power-bi/" TargetMode="External"/><Relationship Id="rId10" Type="http://schemas.openxmlformats.org/officeDocument/2006/relationships/hyperlink" Target="https://powerbi.tips/product/business-ops/" TargetMode="External"/><Relationship Id="rId4" Type="http://schemas.openxmlformats.org/officeDocument/2006/relationships/hyperlink" Target="https://docs.microsoft.com/power-bi/transform-model/dataflows/dataflows-premium-features" TargetMode="External"/><Relationship Id="rId9" Type="http://schemas.openxmlformats.org/officeDocument/2006/relationships/hyperlink" Target="https://github.com/itsnotaboutthecell/powerquerym/blob/master/SplitTextByDelimiter.pq" TargetMode="External"/><Relationship Id="rId14" Type="http://schemas.openxmlformats.org/officeDocument/2006/relationships/hyperlink" Target="https://docs.microsoft.com/users/heyrob/collections/o4dhk4z8xpr8q"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9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2.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5.xml"/></Relationships>
</file>

<file path=ppt/slides/_rels/slide106.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5.xml"/></Relationships>
</file>

<file path=ppt/slides/_rels/slide107.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5.xml"/></Relationships>
</file>

<file path=ppt/slides/_rels/slide108.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75.xml"/></Relationships>
</file>

<file path=ppt/slides/_rels/slide109.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92.xml"/></Relationships>
</file>

<file path=ppt/slides/_rels/slide110.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7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14.xml.rels><?xml version="1.0" encoding="UTF-8" standalone="yes"?>
<Relationships xmlns="http://schemas.openxmlformats.org/package/2006/relationships"><Relationship Id="rId2" Type="http://schemas.openxmlformats.org/officeDocument/2006/relationships/image" Target="../media/image178.gif"/><Relationship Id="rId1" Type="http://schemas.openxmlformats.org/officeDocument/2006/relationships/slideLayout" Target="../slideLayouts/slideLayout75.xml"/></Relationships>
</file>

<file path=ppt/slides/_rels/slide11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75.xml"/></Relationships>
</file>

<file path=ppt/slides/_rels/slide116.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5.xml"/></Relationships>
</file>

<file path=ppt/slides/_rels/slide117.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5.xml"/></Relationships>
</file>

<file path=ppt/slides/_rels/slide118.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5.xml"/></Relationships>
</file>

<file path=ppt/slides/_rels/slide119.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91.svg"/><Relationship Id="rId3" Type="http://schemas.openxmlformats.org/officeDocument/2006/relationships/image" Target="../media/image83.png"/><Relationship Id="rId7" Type="http://schemas.openxmlformats.org/officeDocument/2006/relationships/image" Target="../media/image86.wmf"/><Relationship Id="rId12"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76.xml"/><Relationship Id="rId6" Type="http://schemas.openxmlformats.org/officeDocument/2006/relationships/oleObject" Target="../embeddings/oleObject1.bin"/><Relationship Id="rId11" Type="http://schemas.openxmlformats.org/officeDocument/2006/relationships/image" Target="../media/image89.png"/><Relationship Id="rId5" Type="http://schemas.openxmlformats.org/officeDocument/2006/relationships/image" Target="../media/image85.png"/><Relationship Id="rId15" Type="http://schemas.openxmlformats.org/officeDocument/2006/relationships/image" Target="../media/image93.svg"/><Relationship Id="rId10" Type="http://schemas.openxmlformats.org/officeDocument/2006/relationships/image" Target="../media/image88.png"/><Relationship Id="rId4" Type="http://schemas.openxmlformats.org/officeDocument/2006/relationships/image" Target="../media/image84.jpeg"/><Relationship Id="rId9" Type="http://schemas.openxmlformats.org/officeDocument/2006/relationships/image" Target="../media/image87.png"/><Relationship Id="rId14" Type="http://schemas.openxmlformats.org/officeDocument/2006/relationships/image" Target="../media/image92.png"/></Relationships>
</file>

<file path=ppt/slides/_rels/slide120.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75.xml"/></Relationships>
</file>

<file path=ppt/slides/_rels/slide121.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5.xml"/></Relationships>
</file>

<file path=ppt/slides/_rels/slide122.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186.png"/><Relationship Id="rId1" Type="http://schemas.openxmlformats.org/officeDocument/2006/relationships/slideLayout" Target="../slideLayouts/slideLayout75.xml"/><Relationship Id="rId4" Type="http://schemas.openxmlformats.org/officeDocument/2006/relationships/image" Target="../media/image187.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5.xml"/></Relationships>
</file>

<file path=ppt/slides/_rels/slide12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56.xml"/><Relationship Id="rId1" Type="http://schemas.openxmlformats.org/officeDocument/2006/relationships/slideLayout" Target="../slideLayouts/slideLayout75.xml"/></Relationships>
</file>

<file path=ppt/slides/_rels/slide125.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7.xml"/><Relationship Id="rId1" Type="http://schemas.openxmlformats.org/officeDocument/2006/relationships/slideLayout" Target="../slideLayouts/slideLayout75.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27.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58.xml"/><Relationship Id="rId1" Type="http://schemas.openxmlformats.org/officeDocument/2006/relationships/slideLayout" Target="../slideLayouts/slideLayout53.xml"/></Relationships>
</file>

<file path=ppt/slides/_rels/slide128.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59.xml"/><Relationship Id="rId1" Type="http://schemas.openxmlformats.org/officeDocument/2006/relationships/slideLayout" Target="../slideLayouts/slideLayout79.xml"/><Relationship Id="rId4" Type="http://schemas.openxmlformats.org/officeDocument/2006/relationships/image" Target="../media/image191.png"/></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80.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2.jpeg"/></Relationships>
</file>

<file path=ppt/slides/_rels/slide13.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6.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10.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80.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3.jpeg"/></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0.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4.jpeg"/></Relationships>
</file>

<file path=ppt/slides/_rels/slide132.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63.xml"/><Relationship Id="rId1" Type="http://schemas.openxmlformats.org/officeDocument/2006/relationships/slideLayout" Target="../slideLayouts/slideLayout79.xml"/><Relationship Id="rId4" Type="http://schemas.openxmlformats.org/officeDocument/2006/relationships/image" Target="../media/image191.png"/></Relationships>
</file>

<file path=ppt/slides/_rels/slide1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4.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34.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65.xml"/><Relationship Id="rId1" Type="http://schemas.openxmlformats.org/officeDocument/2006/relationships/slideLayout" Target="../slideLayouts/slideLayout53.xml"/></Relationships>
</file>

<file path=ppt/slides/_rels/slide135.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66.xml"/><Relationship Id="rId1" Type="http://schemas.openxmlformats.org/officeDocument/2006/relationships/slideLayout" Target="../slideLayouts/slideLayout53.xml"/></Relationships>
</file>

<file path=ppt/slides/_rels/slide1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7.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8.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9.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39.xml.rels><?xml version="1.0" encoding="UTF-8" standalone="yes"?>
<Relationships xmlns="http://schemas.openxmlformats.org/package/2006/relationships"><Relationship Id="rId3" Type="http://schemas.openxmlformats.org/officeDocument/2006/relationships/image" Target="../media/image195.emf"/><Relationship Id="rId2" Type="http://schemas.openxmlformats.org/officeDocument/2006/relationships/notesSlide" Target="../notesSlides/notesSlide70.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40.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image" Target="../media/image16.svg"/><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image" Target="../media/image15.png"/><Relationship Id="rId2" Type="http://schemas.openxmlformats.org/officeDocument/2006/relationships/diagramData" Target="../diagrams/data3.xml"/><Relationship Id="rId1" Type="http://schemas.openxmlformats.org/officeDocument/2006/relationships/slideLayout" Target="../slideLayouts/slideLayout28.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41.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42.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71.xml"/><Relationship Id="rId1" Type="http://schemas.openxmlformats.org/officeDocument/2006/relationships/slideLayout" Target="../slideLayouts/slideLayout53.xml"/></Relationships>
</file>

<file path=ppt/slides/_rels/slide143.xml.rels><?xml version="1.0" encoding="UTF-8" standalone="yes"?>
<Relationships xmlns="http://schemas.openxmlformats.org/package/2006/relationships"><Relationship Id="rId3" Type="http://schemas.openxmlformats.org/officeDocument/2006/relationships/image" Target="../media/image197.jpeg"/><Relationship Id="rId2" Type="http://schemas.openxmlformats.org/officeDocument/2006/relationships/image" Target="../media/image196.jpeg"/><Relationship Id="rId1" Type="http://schemas.openxmlformats.org/officeDocument/2006/relationships/slideLayout" Target="../slideLayouts/slideLayout57.xml"/></Relationships>
</file>

<file path=ppt/slides/_rels/slide144.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png"/><Relationship Id="rId1" Type="http://schemas.openxmlformats.org/officeDocument/2006/relationships/slideLayout" Target="../slideLayouts/slideLayout57.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46.xml.rels><?xml version="1.0" encoding="UTF-8" standalone="yes"?>
<Relationships xmlns="http://schemas.openxmlformats.org/package/2006/relationships"><Relationship Id="rId2" Type="http://schemas.openxmlformats.org/officeDocument/2006/relationships/image" Target="../media/image172.jpeg"/><Relationship Id="rId1" Type="http://schemas.openxmlformats.org/officeDocument/2006/relationships/slideLayout" Target="../slideLayouts/slideLayout55.xml"/></Relationships>
</file>

<file path=ppt/slides/_rels/slide147.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72.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73.xml"/><Relationship Id="rId1" Type="http://schemas.openxmlformats.org/officeDocument/2006/relationships/slideLayout" Target="../slideLayouts/slideLayout57.xml"/></Relationships>
</file>

<file path=ppt/slides/_rels/slide14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74.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5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75.xml"/><Relationship Id="rId1" Type="http://schemas.openxmlformats.org/officeDocument/2006/relationships/slideLayout" Target="../slideLayouts/slideLayout74.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2.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76.xml"/><Relationship Id="rId1" Type="http://schemas.openxmlformats.org/officeDocument/2006/relationships/slideLayout" Target="../slideLayouts/slideLayout78.xml"/><Relationship Id="rId5" Type="http://schemas.openxmlformats.org/officeDocument/2006/relationships/hyperlink" Target="https://www.nigelfrank.com/microsoft-azure-salary-survey/" TargetMode="External"/><Relationship Id="rId4" Type="http://schemas.openxmlformats.org/officeDocument/2006/relationships/image" Target="../media/image203.png"/></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77.xml"/><Relationship Id="rId1" Type="http://schemas.openxmlformats.org/officeDocument/2006/relationships/slideLayout" Target="../slideLayouts/slideLayout75.xml"/><Relationship Id="rId4" Type="http://schemas.openxmlformats.org/officeDocument/2006/relationships/image" Target="../media/image205.png"/></Relationships>
</file>

<file path=ppt/slides/_rels/slide155.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75.xml"/></Relationships>
</file>

<file path=ppt/slides/_rels/slide156.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75.xml"/></Relationships>
</file>

<file path=ppt/slides/_rels/slide157.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75.xml"/></Relationships>
</file>

<file path=ppt/slides/_rels/slide158.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75.xml"/></Relationships>
</file>

<file path=ppt/slides/_rels/slide159.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7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60.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75.xml"/></Relationships>
</file>

<file path=ppt/slides/_rels/slide161.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75.xml"/></Relationships>
</file>

<file path=ppt/slides/_rels/slide162.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75.xml"/></Relationships>
</file>

<file path=ppt/slides/_rels/slide163.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75.xml"/></Relationships>
</file>

<file path=ppt/slides/_rels/slide164.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75.xml"/></Relationships>
</file>

<file path=ppt/slides/_rels/slide165.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75.xml"/></Relationships>
</file>

<file path=ppt/slides/_rels/slide166.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75.xml"/></Relationships>
</file>

<file path=ppt/slides/_rels/slide167.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75.xml"/></Relationships>
</file>

<file path=ppt/slides/_rels/slide168.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75.xml"/></Relationships>
</file>

<file path=ppt/slides/_rels/slide169.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75.xml"/></Relationships>
</file>

<file path=ppt/slides/_rels/slide17.xml.rels><?xml version="1.0" encoding="UTF-8" standalone="yes"?>
<Relationships xmlns="http://schemas.openxmlformats.org/package/2006/relationships"><Relationship Id="rId26" Type="http://schemas.openxmlformats.org/officeDocument/2006/relationships/tags" Target="../tags/tag117.xml"/><Relationship Id="rId21" Type="http://schemas.openxmlformats.org/officeDocument/2006/relationships/tags" Target="../tags/tag112.xml"/><Relationship Id="rId42" Type="http://schemas.openxmlformats.org/officeDocument/2006/relationships/tags" Target="../tags/tag133.xml"/><Relationship Id="rId47" Type="http://schemas.openxmlformats.org/officeDocument/2006/relationships/tags" Target="../tags/tag138.xml"/><Relationship Id="rId63" Type="http://schemas.openxmlformats.org/officeDocument/2006/relationships/tags" Target="../tags/tag154.xml"/><Relationship Id="rId68" Type="http://schemas.openxmlformats.org/officeDocument/2006/relationships/tags" Target="../tags/tag159.xml"/><Relationship Id="rId84" Type="http://schemas.openxmlformats.org/officeDocument/2006/relationships/tags" Target="../tags/tag175.xml"/><Relationship Id="rId89" Type="http://schemas.openxmlformats.org/officeDocument/2006/relationships/notesSlide" Target="../notesSlides/notesSlide13.xml"/><Relationship Id="rId16" Type="http://schemas.openxmlformats.org/officeDocument/2006/relationships/tags" Target="../tags/tag107.xml"/><Relationship Id="rId11" Type="http://schemas.openxmlformats.org/officeDocument/2006/relationships/tags" Target="../tags/tag102.xml"/><Relationship Id="rId32" Type="http://schemas.openxmlformats.org/officeDocument/2006/relationships/tags" Target="../tags/tag123.xml"/><Relationship Id="rId37" Type="http://schemas.openxmlformats.org/officeDocument/2006/relationships/tags" Target="../tags/tag128.xml"/><Relationship Id="rId53" Type="http://schemas.openxmlformats.org/officeDocument/2006/relationships/tags" Target="../tags/tag144.xml"/><Relationship Id="rId58" Type="http://schemas.openxmlformats.org/officeDocument/2006/relationships/tags" Target="../tags/tag149.xml"/><Relationship Id="rId74" Type="http://schemas.openxmlformats.org/officeDocument/2006/relationships/tags" Target="../tags/tag165.xml"/><Relationship Id="rId79" Type="http://schemas.openxmlformats.org/officeDocument/2006/relationships/tags" Target="../tags/tag170.xml"/><Relationship Id="rId5" Type="http://schemas.openxmlformats.org/officeDocument/2006/relationships/tags" Target="../tags/tag96.xml"/><Relationship Id="rId90" Type="http://schemas.openxmlformats.org/officeDocument/2006/relationships/oleObject" Target="../embeddings/oleObject4.bin"/><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43" Type="http://schemas.openxmlformats.org/officeDocument/2006/relationships/tags" Target="../tags/tag134.xml"/><Relationship Id="rId48" Type="http://schemas.openxmlformats.org/officeDocument/2006/relationships/tags" Target="../tags/tag139.xml"/><Relationship Id="rId56" Type="http://schemas.openxmlformats.org/officeDocument/2006/relationships/tags" Target="../tags/tag147.xml"/><Relationship Id="rId64" Type="http://schemas.openxmlformats.org/officeDocument/2006/relationships/tags" Target="../tags/tag155.xml"/><Relationship Id="rId69" Type="http://schemas.openxmlformats.org/officeDocument/2006/relationships/tags" Target="../tags/tag160.xml"/><Relationship Id="rId77" Type="http://schemas.openxmlformats.org/officeDocument/2006/relationships/tags" Target="../tags/tag168.xml"/><Relationship Id="rId8" Type="http://schemas.openxmlformats.org/officeDocument/2006/relationships/tags" Target="../tags/tag99.xml"/><Relationship Id="rId51" Type="http://schemas.openxmlformats.org/officeDocument/2006/relationships/tags" Target="../tags/tag142.xml"/><Relationship Id="rId72" Type="http://schemas.openxmlformats.org/officeDocument/2006/relationships/tags" Target="../tags/tag163.xml"/><Relationship Id="rId80" Type="http://schemas.openxmlformats.org/officeDocument/2006/relationships/tags" Target="../tags/tag171.xml"/><Relationship Id="rId85" Type="http://schemas.openxmlformats.org/officeDocument/2006/relationships/tags" Target="../tags/tag176.xml"/><Relationship Id="rId3" Type="http://schemas.openxmlformats.org/officeDocument/2006/relationships/tags" Target="../tags/tag94.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46" Type="http://schemas.openxmlformats.org/officeDocument/2006/relationships/tags" Target="../tags/tag137.xml"/><Relationship Id="rId59" Type="http://schemas.openxmlformats.org/officeDocument/2006/relationships/tags" Target="../tags/tag150.xml"/><Relationship Id="rId67" Type="http://schemas.openxmlformats.org/officeDocument/2006/relationships/tags" Target="../tags/tag158.xml"/><Relationship Id="rId20" Type="http://schemas.openxmlformats.org/officeDocument/2006/relationships/tags" Target="../tags/tag111.xml"/><Relationship Id="rId41" Type="http://schemas.openxmlformats.org/officeDocument/2006/relationships/tags" Target="../tags/tag132.xml"/><Relationship Id="rId54" Type="http://schemas.openxmlformats.org/officeDocument/2006/relationships/tags" Target="../tags/tag145.xml"/><Relationship Id="rId62" Type="http://schemas.openxmlformats.org/officeDocument/2006/relationships/tags" Target="../tags/tag153.xml"/><Relationship Id="rId70" Type="http://schemas.openxmlformats.org/officeDocument/2006/relationships/tags" Target="../tags/tag161.xml"/><Relationship Id="rId75" Type="http://schemas.openxmlformats.org/officeDocument/2006/relationships/tags" Target="../tags/tag166.xml"/><Relationship Id="rId83" Type="http://schemas.openxmlformats.org/officeDocument/2006/relationships/tags" Target="../tags/tag174.xml"/><Relationship Id="rId88" Type="http://schemas.openxmlformats.org/officeDocument/2006/relationships/slideLayout" Target="../slideLayouts/slideLayout9.xml"/><Relationship Id="rId91" Type="http://schemas.openxmlformats.org/officeDocument/2006/relationships/image" Target="../media/image86.wmf"/><Relationship Id="rId1" Type="http://schemas.openxmlformats.org/officeDocument/2006/relationships/tags" Target="../tags/tag92.xml"/><Relationship Id="rId6" Type="http://schemas.openxmlformats.org/officeDocument/2006/relationships/tags" Target="../tags/tag97.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49" Type="http://schemas.openxmlformats.org/officeDocument/2006/relationships/tags" Target="../tags/tag140.xml"/><Relationship Id="rId57" Type="http://schemas.openxmlformats.org/officeDocument/2006/relationships/tags" Target="../tags/tag148.xml"/><Relationship Id="rId10" Type="http://schemas.openxmlformats.org/officeDocument/2006/relationships/tags" Target="../tags/tag101.xml"/><Relationship Id="rId31" Type="http://schemas.openxmlformats.org/officeDocument/2006/relationships/tags" Target="../tags/tag122.xml"/><Relationship Id="rId44" Type="http://schemas.openxmlformats.org/officeDocument/2006/relationships/tags" Target="../tags/tag135.xml"/><Relationship Id="rId52" Type="http://schemas.openxmlformats.org/officeDocument/2006/relationships/tags" Target="../tags/tag143.xml"/><Relationship Id="rId60" Type="http://schemas.openxmlformats.org/officeDocument/2006/relationships/tags" Target="../tags/tag151.xml"/><Relationship Id="rId65" Type="http://schemas.openxmlformats.org/officeDocument/2006/relationships/tags" Target="../tags/tag156.xml"/><Relationship Id="rId73" Type="http://schemas.openxmlformats.org/officeDocument/2006/relationships/tags" Target="../tags/tag164.xml"/><Relationship Id="rId78" Type="http://schemas.openxmlformats.org/officeDocument/2006/relationships/tags" Target="../tags/tag169.xml"/><Relationship Id="rId81" Type="http://schemas.openxmlformats.org/officeDocument/2006/relationships/tags" Target="../tags/tag172.xml"/><Relationship Id="rId86" Type="http://schemas.openxmlformats.org/officeDocument/2006/relationships/tags" Target="../tags/tag177.xml"/><Relationship Id="rId4" Type="http://schemas.openxmlformats.org/officeDocument/2006/relationships/tags" Target="../tags/tag95.xml"/><Relationship Id="rId9" Type="http://schemas.openxmlformats.org/officeDocument/2006/relationships/tags" Target="../tags/tag100.xml"/><Relationship Id="rId13" Type="http://schemas.openxmlformats.org/officeDocument/2006/relationships/tags" Target="../tags/tag104.xml"/><Relationship Id="rId18" Type="http://schemas.openxmlformats.org/officeDocument/2006/relationships/tags" Target="../tags/tag109.xml"/><Relationship Id="rId39" Type="http://schemas.openxmlformats.org/officeDocument/2006/relationships/tags" Target="../tags/tag130.xml"/><Relationship Id="rId34" Type="http://schemas.openxmlformats.org/officeDocument/2006/relationships/tags" Target="../tags/tag125.xml"/><Relationship Id="rId50" Type="http://schemas.openxmlformats.org/officeDocument/2006/relationships/tags" Target="../tags/tag141.xml"/><Relationship Id="rId55" Type="http://schemas.openxmlformats.org/officeDocument/2006/relationships/tags" Target="../tags/tag146.xml"/><Relationship Id="rId76" Type="http://schemas.openxmlformats.org/officeDocument/2006/relationships/tags" Target="../tags/tag167.xml"/><Relationship Id="rId7" Type="http://schemas.openxmlformats.org/officeDocument/2006/relationships/tags" Target="../tags/tag98.xml"/><Relationship Id="rId71" Type="http://schemas.openxmlformats.org/officeDocument/2006/relationships/tags" Target="../tags/tag162.xml"/><Relationship Id="rId2" Type="http://schemas.openxmlformats.org/officeDocument/2006/relationships/tags" Target="../tags/tag93.xml"/><Relationship Id="rId29" Type="http://schemas.openxmlformats.org/officeDocument/2006/relationships/tags" Target="../tags/tag120.xml"/><Relationship Id="rId24" Type="http://schemas.openxmlformats.org/officeDocument/2006/relationships/tags" Target="../tags/tag115.xml"/><Relationship Id="rId40" Type="http://schemas.openxmlformats.org/officeDocument/2006/relationships/tags" Target="../tags/tag131.xml"/><Relationship Id="rId45" Type="http://schemas.openxmlformats.org/officeDocument/2006/relationships/tags" Target="../tags/tag136.xml"/><Relationship Id="rId66" Type="http://schemas.openxmlformats.org/officeDocument/2006/relationships/tags" Target="../tags/tag157.xml"/><Relationship Id="rId87" Type="http://schemas.openxmlformats.org/officeDocument/2006/relationships/tags" Target="../tags/tag178.xml"/><Relationship Id="rId61" Type="http://schemas.openxmlformats.org/officeDocument/2006/relationships/tags" Target="../tags/tag152.xml"/><Relationship Id="rId82" Type="http://schemas.openxmlformats.org/officeDocument/2006/relationships/tags" Target="../tags/tag173.xml"/><Relationship Id="rId19" Type="http://schemas.openxmlformats.org/officeDocument/2006/relationships/tags" Target="../tags/tag110.xml"/></Relationships>
</file>

<file path=ppt/slides/_rels/slide170.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75.xml"/></Relationships>
</file>

<file path=ppt/slides/_rels/slide171.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75.xml"/></Relationships>
</file>

<file path=ppt/slides/_rels/slide172.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75.xml"/></Relationships>
</file>

<file path=ppt/slides/_rels/slide173.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75.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0.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74.xml"/></Relationships>
</file>

<file path=ppt/slides/_rels/slide18.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02.png"/><Relationship Id="rId18" Type="http://schemas.openxmlformats.org/officeDocument/2006/relationships/image" Target="../media/image107.svg"/><Relationship Id="rId3" Type="http://schemas.openxmlformats.org/officeDocument/2006/relationships/image" Target="../media/image94.png"/><Relationship Id="rId21" Type="http://schemas.openxmlformats.org/officeDocument/2006/relationships/image" Target="../media/image110.png"/><Relationship Id="rId7" Type="http://schemas.openxmlformats.org/officeDocument/2006/relationships/image" Target="../media/image98.png"/><Relationship Id="rId12" Type="http://schemas.openxmlformats.org/officeDocument/2006/relationships/image" Target="../media/image101.svg"/><Relationship Id="rId17" Type="http://schemas.openxmlformats.org/officeDocument/2006/relationships/image" Target="../media/image106.png"/><Relationship Id="rId2" Type="http://schemas.openxmlformats.org/officeDocument/2006/relationships/notesSlide" Target="../notesSlides/notesSlide14.xml"/><Relationship Id="rId16" Type="http://schemas.openxmlformats.org/officeDocument/2006/relationships/image" Target="../media/image105.svg"/><Relationship Id="rId20" Type="http://schemas.openxmlformats.org/officeDocument/2006/relationships/image" Target="../media/image109.svg"/><Relationship Id="rId1" Type="http://schemas.openxmlformats.org/officeDocument/2006/relationships/slideLayout" Target="../slideLayouts/slideLayout74.xml"/><Relationship Id="rId6" Type="http://schemas.openxmlformats.org/officeDocument/2006/relationships/image" Target="../media/image97.svg"/><Relationship Id="rId11" Type="http://schemas.openxmlformats.org/officeDocument/2006/relationships/image" Target="../media/image100.png"/><Relationship Id="rId5" Type="http://schemas.openxmlformats.org/officeDocument/2006/relationships/image" Target="../media/image96.png"/><Relationship Id="rId15" Type="http://schemas.openxmlformats.org/officeDocument/2006/relationships/image" Target="../media/image104.png"/><Relationship Id="rId10" Type="http://schemas.openxmlformats.org/officeDocument/2006/relationships/image" Target="../media/image93.svg"/><Relationship Id="rId19" Type="http://schemas.openxmlformats.org/officeDocument/2006/relationships/image" Target="../media/image108.png"/><Relationship Id="rId4" Type="http://schemas.openxmlformats.org/officeDocument/2006/relationships/image" Target="../media/image95.svg"/><Relationship Id="rId9" Type="http://schemas.openxmlformats.org/officeDocument/2006/relationships/image" Target="../media/image92.png"/><Relationship Id="rId14" Type="http://schemas.openxmlformats.org/officeDocument/2006/relationships/image" Target="../media/image103.svg"/><Relationship Id="rId22" Type="http://schemas.openxmlformats.org/officeDocument/2006/relationships/image" Target="../media/image111.svg"/></Relationships>
</file>

<file path=ppt/slides/_rels/slide180.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225.png"/><Relationship Id="rId1" Type="http://schemas.openxmlformats.org/officeDocument/2006/relationships/slideLayout" Target="../slideLayouts/slideLayout74.xml"/></Relationships>
</file>

<file path=ppt/slides/_rels/slide181.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80.xml"/><Relationship Id="rId1" Type="http://schemas.openxmlformats.org/officeDocument/2006/relationships/slideLayout" Target="../slideLayouts/slideLayout74.xml"/><Relationship Id="rId4" Type="http://schemas.openxmlformats.org/officeDocument/2006/relationships/image" Target="../media/image227.png"/></Relationships>
</file>

<file path=ppt/slides/_rels/slide182.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81.xml"/><Relationship Id="rId1" Type="http://schemas.openxmlformats.org/officeDocument/2006/relationships/slideLayout" Target="../slideLayouts/slideLayout74.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7.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74.xml"/></Relationships>
</file>

<file path=ppt/slides/_rels/slide188.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png"/><Relationship Id="rId1" Type="http://schemas.openxmlformats.org/officeDocument/2006/relationships/slideLayout" Target="../slideLayouts/slideLayout74.xml"/></Relationships>
</file>

<file path=ppt/slides/_rels/slide189.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232.png"/><Relationship Id="rId2" Type="http://schemas.openxmlformats.org/officeDocument/2006/relationships/diagramData" Target="../diagrams/data7.xml"/><Relationship Id="rId1" Type="http://schemas.openxmlformats.org/officeDocument/2006/relationships/slideLayout" Target="../slideLayouts/slideLayout7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9.xml.rels><?xml version="1.0" encoding="UTF-8" standalone="yes"?>
<Relationships xmlns="http://schemas.openxmlformats.org/package/2006/relationships"><Relationship Id="rId3" Type="http://schemas.openxmlformats.org/officeDocument/2006/relationships/image" Target="../media/image93.svg"/><Relationship Id="rId2" Type="http://schemas.openxmlformats.org/officeDocument/2006/relationships/image" Target="../media/image92.png"/><Relationship Id="rId1" Type="http://schemas.openxmlformats.org/officeDocument/2006/relationships/slideLayout" Target="../slideLayouts/slideLayout74.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75.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74.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74.xml"/></Relationships>
</file>

<file path=ppt/slides/_rels/slide19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5.xml"/><Relationship Id="rId1" Type="http://schemas.openxmlformats.org/officeDocument/2006/relationships/slideLayout" Target="../slideLayouts/slideLayout7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74.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98.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02.pn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1.svg"/><Relationship Id="rId2" Type="http://schemas.openxmlformats.org/officeDocument/2006/relationships/notesSlide" Target="../notesSlides/notesSlide15.xml"/><Relationship Id="rId1" Type="http://schemas.openxmlformats.org/officeDocument/2006/relationships/slideLayout" Target="../slideLayouts/slideLayout74.xml"/><Relationship Id="rId6" Type="http://schemas.openxmlformats.org/officeDocument/2006/relationships/image" Target="../media/image97.svg"/><Relationship Id="rId11" Type="http://schemas.openxmlformats.org/officeDocument/2006/relationships/image" Target="../media/image100.png"/><Relationship Id="rId5" Type="http://schemas.openxmlformats.org/officeDocument/2006/relationships/image" Target="../media/image96.png"/><Relationship Id="rId10" Type="http://schemas.openxmlformats.org/officeDocument/2006/relationships/image" Target="../media/image105.svg"/><Relationship Id="rId4" Type="http://schemas.openxmlformats.org/officeDocument/2006/relationships/image" Target="../media/image95.svg"/><Relationship Id="rId9" Type="http://schemas.openxmlformats.org/officeDocument/2006/relationships/image" Target="../media/image104.png"/><Relationship Id="rId14" Type="http://schemas.openxmlformats.org/officeDocument/2006/relationships/image" Target="../media/image103.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7.xml"/><Relationship Id="rId1" Type="http://schemas.openxmlformats.org/officeDocument/2006/relationships/slideLayout" Target="../slideLayouts/slideLayout74.xml"/><Relationship Id="rId5" Type="http://schemas.openxmlformats.org/officeDocument/2006/relationships/image" Target="../media/image113.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95.svg"/><Relationship Id="rId7" Type="http://schemas.openxmlformats.org/officeDocument/2006/relationships/image" Target="../media/image117.png"/><Relationship Id="rId2" Type="http://schemas.openxmlformats.org/officeDocument/2006/relationships/image" Target="../media/image94.png"/><Relationship Id="rId1" Type="http://schemas.openxmlformats.org/officeDocument/2006/relationships/slideLayout" Target="../slideLayouts/slideLayout75.xml"/><Relationship Id="rId6" Type="http://schemas.openxmlformats.org/officeDocument/2006/relationships/image" Target="../media/image116.png"/><Relationship Id="rId5" Type="http://schemas.openxmlformats.org/officeDocument/2006/relationships/image" Target="../media/image115.svg"/><Relationship Id="rId4" Type="http://schemas.openxmlformats.org/officeDocument/2006/relationships/image" Target="../media/image114.png"/></Relationships>
</file>

<file path=ppt/slides/_rels/slide24.xml.rels><?xml version="1.0" encoding="UTF-8" standalone="yes"?>
<Relationships xmlns="http://schemas.openxmlformats.org/package/2006/relationships"><Relationship Id="rId3" Type="http://schemas.openxmlformats.org/officeDocument/2006/relationships/image" Target="../media/image118.wmf"/><Relationship Id="rId2" Type="http://schemas.openxmlformats.org/officeDocument/2006/relationships/oleObject" Target="../embeddings/oleObject5.bin"/><Relationship Id="rId1" Type="http://schemas.openxmlformats.org/officeDocument/2006/relationships/slideLayout" Target="../slideLayouts/slideLayout75.xml"/><Relationship Id="rId4" Type="http://schemas.openxmlformats.org/officeDocument/2006/relationships/image" Target="../media/image119.png"/></Relationships>
</file>

<file path=ppt/slides/_rel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8.xml"/><Relationship Id="rId1" Type="http://schemas.openxmlformats.org/officeDocument/2006/relationships/slideLayout" Target="../slideLayouts/slideLayout74.xml"/><Relationship Id="rId5" Type="http://schemas.openxmlformats.org/officeDocument/2006/relationships/image" Target="../media/image113.png"/><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15.svg"/><Relationship Id="rId3" Type="http://schemas.openxmlformats.org/officeDocument/2006/relationships/image" Target="../media/image95.svg"/><Relationship Id="rId7" Type="http://schemas.openxmlformats.org/officeDocument/2006/relationships/image" Target="../media/image122.svg"/><Relationship Id="rId12" Type="http://schemas.openxmlformats.org/officeDocument/2006/relationships/image" Target="../media/image114.png"/><Relationship Id="rId2" Type="http://schemas.openxmlformats.org/officeDocument/2006/relationships/image" Target="../media/image94.png"/><Relationship Id="rId1" Type="http://schemas.openxmlformats.org/officeDocument/2006/relationships/slideLayout" Target="../slideLayouts/slideLayout75.xml"/><Relationship Id="rId6" Type="http://schemas.openxmlformats.org/officeDocument/2006/relationships/image" Target="../media/image121.png"/><Relationship Id="rId11" Type="http://schemas.openxmlformats.org/officeDocument/2006/relationships/image" Target="../media/image126.sv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6.png"/><Relationship Id="rId9" Type="http://schemas.openxmlformats.org/officeDocument/2006/relationships/image" Target="../media/image124.svg"/></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7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7.png"/><Relationship Id="rId1" Type="http://schemas.openxmlformats.org/officeDocument/2006/relationships/slideLayout" Target="../slideLayouts/slideLayout74.xml"/><Relationship Id="rId4" Type="http://schemas.openxmlformats.org/officeDocument/2006/relationships/image" Target="../media/image128.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26" Type="http://schemas.openxmlformats.org/officeDocument/2006/relationships/tags" Target="../tags/tag204.xml"/><Relationship Id="rId21" Type="http://schemas.openxmlformats.org/officeDocument/2006/relationships/tags" Target="../tags/tag199.xml"/><Relationship Id="rId42" Type="http://schemas.openxmlformats.org/officeDocument/2006/relationships/tags" Target="../tags/tag220.xml"/><Relationship Id="rId47" Type="http://schemas.openxmlformats.org/officeDocument/2006/relationships/tags" Target="../tags/tag225.xml"/><Relationship Id="rId63" Type="http://schemas.openxmlformats.org/officeDocument/2006/relationships/tags" Target="../tags/tag241.xml"/><Relationship Id="rId68" Type="http://schemas.openxmlformats.org/officeDocument/2006/relationships/tags" Target="../tags/tag246.xml"/><Relationship Id="rId84" Type="http://schemas.openxmlformats.org/officeDocument/2006/relationships/tags" Target="../tags/tag262.xml"/><Relationship Id="rId89" Type="http://schemas.openxmlformats.org/officeDocument/2006/relationships/tags" Target="../tags/tag267.xml"/><Relationship Id="rId16" Type="http://schemas.openxmlformats.org/officeDocument/2006/relationships/tags" Target="../tags/tag194.xml"/><Relationship Id="rId11" Type="http://schemas.openxmlformats.org/officeDocument/2006/relationships/tags" Target="../tags/tag189.xml"/><Relationship Id="rId32" Type="http://schemas.openxmlformats.org/officeDocument/2006/relationships/tags" Target="../tags/tag210.xml"/><Relationship Id="rId37" Type="http://schemas.openxmlformats.org/officeDocument/2006/relationships/tags" Target="../tags/tag215.xml"/><Relationship Id="rId53" Type="http://schemas.openxmlformats.org/officeDocument/2006/relationships/tags" Target="../tags/tag231.xml"/><Relationship Id="rId58" Type="http://schemas.openxmlformats.org/officeDocument/2006/relationships/tags" Target="../tags/tag236.xml"/><Relationship Id="rId74" Type="http://schemas.openxmlformats.org/officeDocument/2006/relationships/tags" Target="../tags/tag252.xml"/><Relationship Id="rId79" Type="http://schemas.openxmlformats.org/officeDocument/2006/relationships/tags" Target="../tags/tag257.xml"/><Relationship Id="rId5" Type="http://schemas.openxmlformats.org/officeDocument/2006/relationships/tags" Target="../tags/tag183.xml"/><Relationship Id="rId90" Type="http://schemas.openxmlformats.org/officeDocument/2006/relationships/tags" Target="../tags/tag268.xml"/><Relationship Id="rId22" Type="http://schemas.openxmlformats.org/officeDocument/2006/relationships/tags" Target="../tags/tag200.xml"/><Relationship Id="rId27" Type="http://schemas.openxmlformats.org/officeDocument/2006/relationships/tags" Target="../tags/tag205.xml"/><Relationship Id="rId43" Type="http://schemas.openxmlformats.org/officeDocument/2006/relationships/tags" Target="../tags/tag221.xml"/><Relationship Id="rId48" Type="http://schemas.openxmlformats.org/officeDocument/2006/relationships/tags" Target="../tags/tag226.xml"/><Relationship Id="rId64" Type="http://schemas.openxmlformats.org/officeDocument/2006/relationships/tags" Target="../tags/tag242.xml"/><Relationship Id="rId69" Type="http://schemas.openxmlformats.org/officeDocument/2006/relationships/tags" Target="../tags/tag247.xml"/><Relationship Id="rId8" Type="http://schemas.openxmlformats.org/officeDocument/2006/relationships/tags" Target="../tags/tag186.xml"/><Relationship Id="rId51" Type="http://schemas.openxmlformats.org/officeDocument/2006/relationships/tags" Target="../tags/tag229.xml"/><Relationship Id="rId72" Type="http://schemas.openxmlformats.org/officeDocument/2006/relationships/tags" Target="../tags/tag250.xml"/><Relationship Id="rId80" Type="http://schemas.openxmlformats.org/officeDocument/2006/relationships/tags" Target="../tags/tag258.xml"/><Relationship Id="rId85" Type="http://schemas.openxmlformats.org/officeDocument/2006/relationships/tags" Target="../tags/tag263.xml"/><Relationship Id="rId93" Type="http://schemas.openxmlformats.org/officeDocument/2006/relationships/oleObject" Target="../embeddings/oleObject3.bin"/><Relationship Id="rId3" Type="http://schemas.openxmlformats.org/officeDocument/2006/relationships/tags" Target="../tags/tag181.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tags" Target="../tags/tag211.xml"/><Relationship Id="rId38" Type="http://schemas.openxmlformats.org/officeDocument/2006/relationships/tags" Target="../tags/tag216.xml"/><Relationship Id="rId46" Type="http://schemas.openxmlformats.org/officeDocument/2006/relationships/tags" Target="../tags/tag224.xml"/><Relationship Id="rId59" Type="http://schemas.openxmlformats.org/officeDocument/2006/relationships/tags" Target="../tags/tag237.xml"/><Relationship Id="rId67" Type="http://schemas.openxmlformats.org/officeDocument/2006/relationships/tags" Target="../tags/tag245.xml"/><Relationship Id="rId20" Type="http://schemas.openxmlformats.org/officeDocument/2006/relationships/tags" Target="../tags/tag198.xml"/><Relationship Id="rId41" Type="http://schemas.openxmlformats.org/officeDocument/2006/relationships/tags" Target="../tags/tag219.xml"/><Relationship Id="rId54" Type="http://schemas.openxmlformats.org/officeDocument/2006/relationships/tags" Target="../tags/tag232.xml"/><Relationship Id="rId62" Type="http://schemas.openxmlformats.org/officeDocument/2006/relationships/tags" Target="../tags/tag240.xml"/><Relationship Id="rId70" Type="http://schemas.openxmlformats.org/officeDocument/2006/relationships/tags" Target="../tags/tag248.xml"/><Relationship Id="rId75" Type="http://schemas.openxmlformats.org/officeDocument/2006/relationships/tags" Target="../tags/tag253.xml"/><Relationship Id="rId83" Type="http://schemas.openxmlformats.org/officeDocument/2006/relationships/tags" Target="../tags/tag261.xml"/><Relationship Id="rId88" Type="http://schemas.openxmlformats.org/officeDocument/2006/relationships/tags" Target="../tags/tag266.xml"/><Relationship Id="rId91" Type="http://schemas.openxmlformats.org/officeDocument/2006/relationships/slideLayout" Target="../slideLayouts/slideLayout9.xml"/><Relationship Id="rId1" Type="http://schemas.openxmlformats.org/officeDocument/2006/relationships/tags" Target="../tags/tag179.xml"/><Relationship Id="rId6" Type="http://schemas.openxmlformats.org/officeDocument/2006/relationships/tags" Target="../tags/tag184.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tags" Target="../tags/tag206.xml"/><Relationship Id="rId36" Type="http://schemas.openxmlformats.org/officeDocument/2006/relationships/tags" Target="../tags/tag214.xml"/><Relationship Id="rId49" Type="http://schemas.openxmlformats.org/officeDocument/2006/relationships/tags" Target="../tags/tag227.xml"/><Relationship Id="rId57" Type="http://schemas.openxmlformats.org/officeDocument/2006/relationships/tags" Target="../tags/tag235.xml"/><Relationship Id="rId10" Type="http://schemas.openxmlformats.org/officeDocument/2006/relationships/tags" Target="../tags/tag188.xml"/><Relationship Id="rId31" Type="http://schemas.openxmlformats.org/officeDocument/2006/relationships/tags" Target="../tags/tag209.xml"/><Relationship Id="rId44" Type="http://schemas.openxmlformats.org/officeDocument/2006/relationships/tags" Target="../tags/tag222.xml"/><Relationship Id="rId52" Type="http://schemas.openxmlformats.org/officeDocument/2006/relationships/tags" Target="../tags/tag230.xml"/><Relationship Id="rId60" Type="http://schemas.openxmlformats.org/officeDocument/2006/relationships/tags" Target="../tags/tag238.xml"/><Relationship Id="rId65" Type="http://schemas.openxmlformats.org/officeDocument/2006/relationships/tags" Target="../tags/tag243.xml"/><Relationship Id="rId73" Type="http://schemas.openxmlformats.org/officeDocument/2006/relationships/tags" Target="../tags/tag251.xml"/><Relationship Id="rId78" Type="http://schemas.openxmlformats.org/officeDocument/2006/relationships/tags" Target="../tags/tag256.xml"/><Relationship Id="rId81" Type="http://schemas.openxmlformats.org/officeDocument/2006/relationships/tags" Target="../tags/tag259.xml"/><Relationship Id="rId86" Type="http://schemas.openxmlformats.org/officeDocument/2006/relationships/tags" Target="../tags/tag264.xml"/><Relationship Id="rId94" Type="http://schemas.openxmlformats.org/officeDocument/2006/relationships/image" Target="../media/image86.wmf"/><Relationship Id="rId4" Type="http://schemas.openxmlformats.org/officeDocument/2006/relationships/tags" Target="../tags/tag182.xml"/><Relationship Id="rId9" Type="http://schemas.openxmlformats.org/officeDocument/2006/relationships/tags" Target="../tags/tag187.xml"/><Relationship Id="rId13" Type="http://schemas.openxmlformats.org/officeDocument/2006/relationships/tags" Target="../tags/tag191.xml"/><Relationship Id="rId18" Type="http://schemas.openxmlformats.org/officeDocument/2006/relationships/tags" Target="../tags/tag196.xml"/><Relationship Id="rId39" Type="http://schemas.openxmlformats.org/officeDocument/2006/relationships/tags" Target="../tags/tag217.xml"/><Relationship Id="rId34" Type="http://schemas.openxmlformats.org/officeDocument/2006/relationships/tags" Target="../tags/tag212.xml"/><Relationship Id="rId50" Type="http://schemas.openxmlformats.org/officeDocument/2006/relationships/tags" Target="../tags/tag228.xml"/><Relationship Id="rId55" Type="http://schemas.openxmlformats.org/officeDocument/2006/relationships/tags" Target="../tags/tag233.xml"/><Relationship Id="rId76" Type="http://schemas.openxmlformats.org/officeDocument/2006/relationships/tags" Target="../tags/tag254.xml"/><Relationship Id="rId7" Type="http://schemas.openxmlformats.org/officeDocument/2006/relationships/tags" Target="../tags/tag185.xml"/><Relationship Id="rId71" Type="http://schemas.openxmlformats.org/officeDocument/2006/relationships/tags" Target="../tags/tag249.xml"/><Relationship Id="rId92" Type="http://schemas.openxmlformats.org/officeDocument/2006/relationships/notesSlide" Target="../notesSlides/notesSlide23.xml"/><Relationship Id="rId2" Type="http://schemas.openxmlformats.org/officeDocument/2006/relationships/tags" Target="../tags/tag180.xml"/><Relationship Id="rId29" Type="http://schemas.openxmlformats.org/officeDocument/2006/relationships/tags" Target="../tags/tag207.xml"/><Relationship Id="rId24" Type="http://schemas.openxmlformats.org/officeDocument/2006/relationships/tags" Target="../tags/tag202.xml"/><Relationship Id="rId40" Type="http://schemas.openxmlformats.org/officeDocument/2006/relationships/tags" Target="../tags/tag218.xml"/><Relationship Id="rId45" Type="http://schemas.openxmlformats.org/officeDocument/2006/relationships/tags" Target="../tags/tag223.xml"/><Relationship Id="rId66" Type="http://schemas.openxmlformats.org/officeDocument/2006/relationships/tags" Target="../tags/tag244.xml"/><Relationship Id="rId87" Type="http://schemas.openxmlformats.org/officeDocument/2006/relationships/tags" Target="../tags/tag265.xml"/><Relationship Id="rId61" Type="http://schemas.openxmlformats.org/officeDocument/2006/relationships/tags" Target="../tags/tag239.xml"/><Relationship Id="rId82" Type="http://schemas.openxmlformats.org/officeDocument/2006/relationships/tags" Target="../tags/tag260.xml"/><Relationship Id="rId19" Type="http://schemas.openxmlformats.org/officeDocument/2006/relationships/tags" Target="../tags/tag197.xml"/><Relationship Id="rId14" Type="http://schemas.openxmlformats.org/officeDocument/2006/relationships/tags" Target="../tags/tag192.xml"/><Relationship Id="rId30" Type="http://schemas.openxmlformats.org/officeDocument/2006/relationships/tags" Target="../tags/tag208.xml"/><Relationship Id="rId35" Type="http://schemas.openxmlformats.org/officeDocument/2006/relationships/tags" Target="../tags/tag213.xml"/><Relationship Id="rId56" Type="http://schemas.openxmlformats.org/officeDocument/2006/relationships/tags" Target="../tags/tag234.xml"/><Relationship Id="rId77" Type="http://schemas.openxmlformats.org/officeDocument/2006/relationships/tags" Target="../tags/tag255.xml"/></Relationships>
</file>

<file path=ppt/slides/_rels/slide3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3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7.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0.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3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3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3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31.xml"/></Relationships>
</file>

<file path=ppt/slides/_rels/slide4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sv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2.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136.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8" Type="http://schemas.openxmlformats.org/officeDocument/2006/relationships/image" Target="../media/image140.svg"/><Relationship Id="rId13" Type="http://schemas.openxmlformats.org/officeDocument/2006/relationships/image" Target="../media/image145.png"/><Relationship Id="rId18" Type="http://schemas.openxmlformats.org/officeDocument/2006/relationships/image" Target="../media/image150.svg"/><Relationship Id="rId3" Type="http://schemas.openxmlformats.org/officeDocument/2006/relationships/image" Target="../media/image131.png"/><Relationship Id="rId7" Type="http://schemas.openxmlformats.org/officeDocument/2006/relationships/image" Target="../media/image139.png"/><Relationship Id="rId12" Type="http://schemas.openxmlformats.org/officeDocument/2006/relationships/image" Target="../media/image144.svg"/><Relationship Id="rId17" Type="http://schemas.openxmlformats.org/officeDocument/2006/relationships/image" Target="../media/image149.png"/><Relationship Id="rId2" Type="http://schemas.openxmlformats.org/officeDocument/2006/relationships/notesSlide" Target="../notesSlides/notesSlide45.xml"/><Relationship Id="rId16" Type="http://schemas.openxmlformats.org/officeDocument/2006/relationships/image" Target="../media/image148.svg"/><Relationship Id="rId1" Type="http://schemas.openxmlformats.org/officeDocument/2006/relationships/slideLayout" Target="../slideLayouts/slideLayout9.xml"/><Relationship Id="rId6" Type="http://schemas.openxmlformats.org/officeDocument/2006/relationships/image" Target="../media/image138.svg"/><Relationship Id="rId11" Type="http://schemas.openxmlformats.org/officeDocument/2006/relationships/image" Target="../media/image143.png"/><Relationship Id="rId5" Type="http://schemas.openxmlformats.org/officeDocument/2006/relationships/image" Target="../media/image137.png"/><Relationship Id="rId15" Type="http://schemas.openxmlformats.org/officeDocument/2006/relationships/image" Target="../media/image147.png"/><Relationship Id="rId10" Type="http://schemas.openxmlformats.org/officeDocument/2006/relationships/image" Target="../media/image142.svg"/><Relationship Id="rId4" Type="http://schemas.openxmlformats.org/officeDocument/2006/relationships/image" Target="../media/image132.svg"/><Relationship Id="rId9" Type="http://schemas.openxmlformats.org/officeDocument/2006/relationships/image" Target="../media/image141.png"/><Relationship Id="rId14" Type="http://schemas.openxmlformats.org/officeDocument/2006/relationships/image" Target="../media/image146.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6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26" Type="http://schemas.openxmlformats.org/officeDocument/2006/relationships/tags" Target="../tags/tag294.xml"/><Relationship Id="rId21" Type="http://schemas.openxmlformats.org/officeDocument/2006/relationships/tags" Target="../tags/tag289.xml"/><Relationship Id="rId42" Type="http://schemas.openxmlformats.org/officeDocument/2006/relationships/tags" Target="../tags/tag310.xml"/><Relationship Id="rId47" Type="http://schemas.openxmlformats.org/officeDocument/2006/relationships/tags" Target="../tags/tag315.xml"/><Relationship Id="rId63" Type="http://schemas.openxmlformats.org/officeDocument/2006/relationships/tags" Target="../tags/tag331.xml"/><Relationship Id="rId68" Type="http://schemas.openxmlformats.org/officeDocument/2006/relationships/tags" Target="../tags/tag336.xml"/><Relationship Id="rId84" Type="http://schemas.openxmlformats.org/officeDocument/2006/relationships/tags" Target="../tags/tag352.xml"/><Relationship Id="rId89" Type="http://schemas.openxmlformats.org/officeDocument/2006/relationships/tags" Target="../tags/tag357.xml"/><Relationship Id="rId16" Type="http://schemas.openxmlformats.org/officeDocument/2006/relationships/tags" Target="../tags/tag284.xml"/><Relationship Id="rId11" Type="http://schemas.openxmlformats.org/officeDocument/2006/relationships/tags" Target="../tags/tag279.xml"/><Relationship Id="rId32" Type="http://schemas.openxmlformats.org/officeDocument/2006/relationships/tags" Target="../tags/tag300.xml"/><Relationship Id="rId37" Type="http://schemas.openxmlformats.org/officeDocument/2006/relationships/tags" Target="../tags/tag305.xml"/><Relationship Id="rId53" Type="http://schemas.openxmlformats.org/officeDocument/2006/relationships/tags" Target="../tags/tag321.xml"/><Relationship Id="rId58" Type="http://schemas.openxmlformats.org/officeDocument/2006/relationships/tags" Target="../tags/tag326.xml"/><Relationship Id="rId74" Type="http://schemas.openxmlformats.org/officeDocument/2006/relationships/tags" Target="../tags/tag342.xml"/><Relationship Id="rId79" Type="http://schemas.openxmlformats.org/officeDocument/2006/relationships/tags" Target="../tags/tag347.xml"/><Relationship Id="rId5" Type="http://schemas.openxmlformats.org/officeDocument/2006/relationships/tags" Target="../tags/tag273.xml"/><Relationship Id="rId90" Type="http://schemas.openxmlformats.org/officeDocument/2006/relationships/tags" Target="../tags/tag358.xml"/><Relationship Id="rId95" Type="http://schemas.openxmlformats.org/officeDocument/2006/relationships/image" Target="../media/image86.wmf"/><Relationship Id="rId22" Type="http://schemas.openxmlformats.org/officeDocument/2006/relationships/tags" Target="../tags/tag290.xml"/><Relationship Id="rId27" Type="http://schemas.openxmlformats.org/officeDocument/2006/relationships/tags" Target="../tags/tag295.xml"/><Relationship Id="rId43" Type="http://schemas.openxmlformats.org/officeDocument/2006/relationships/tags" Target="../tags/tag311.xml"/><Relationship Id="rId48" Type="http://schemas.openxmlformats.org/officeDocument/2006/relationships/tags" Target="../tags/tag316.xml"/><Relationship Id="rId64" Type="http://schemas.openxmlformats.org/officeDocument/2006/relationships/tags" Target="../tags/tag332.xml"/><Relationship Id="rId69" Type="http://schemas.openxmlformats.org/officeDocument/2006/relationships/tags" Target="../tags/tag337.xml"/><Relationship Id="rId8" Type="http://schemas.openxmlformats.org/officeDocument/2006/relationships/tags" Target="../tags/tag276.xml"/><Relationship Id="rId51" Type="http://schemas.openxmlformats.org/officeDocument/2006/relationships/tags" Target="../tags/tag319.xml"/><Relationship Id="rId72" Type="http://schemas.openxmlformats.org/officeDocument/2006/relationships/tags" Target="../tags/tag340.xml"/><Relationship Id="rId80" Type="http://schemas.openxmlformats.org/officeDocument/2006/relationships/tags" Target="../tags/tag348.xml"/><Relationship Id="rId85" Type="http://schemas.openxmlformats.org/officeDocument/2006/relationships/tags" Target="../tags/tag353.xml"/><Relationship Id="rId93" Type="http://schemas.openxmlformats.org/officeDocument/2006/relationships/notesSlide" Target="../notesSlides/notesSlide47.xml"/><Relationship Id="rId3" Type="http://schemas.openxmlformats.org/officeDocument/2006/relationships/tags" Target="../tags/tag271.xml"/><Relationship Id="rId12" Type="http://schemas.openxmlformats.org/officeDocument/2006/relationships/tags" Target="../tags/tag280.xml"/><Relationship Id="rId17" Type="http://schemas.openxmlformats.org/officeDocument/2006/relationships/tags" Target="../tags/tag285.xml"/><Relationship Id="rId25" Type="http://schemas.openxmlformats.org/officeDocument/2006/relationships/tags" Target="../tags/tag293.xml"/><Relationship Id="rId33" Type="http://schemas.openxmlformats.org/officeDocument/2006/relationships/tags" Target="../tags/tag301.xml"/><Relationship Id="rId38" Type="http://schemas.openxmlformats.org/officeDocument/2006/relationships/tags" Target="../tags/tag306.xml"/><Relationship Id="rId46" Type="http://schemas.openxmlformats.org/officeDocument/2006/relationships/tags" Target="../tags/tag314.xml"/><Relationship Id="rId59" Type="http://schemas.openxmlformats.org/officeDocument/2006/relationships/tags" Target="../tags/tag327.xml"/><Relationship Id="rId67" Type="http://schemas.openxmlformats.org/officeDocument/2006/relationships/tags" Target="../tags/tag335.xml"/><Relationship Id="rId20" Type="http://schemas.openxmlformats.org/officeDocument/2006/relationships/tags" Target="../tags/tag288.xml"/><Relationship Id="rId41" Type="http://schemas.openxmlformats.org/officeDocument/2006/relationships/tags" Target="../tags/tag309.xml"/><Relationship Id="rId54" Type="http://schemas.openxmlformats.org/officeDocument/2006/relationships/tags" Target="../tags/tag322.xml"/><Relationship Id="rId62" Type="http://schemas.openxmlformats.org/officeDocument/2006/relationships/tags" Target="../tags/tag330.xml"/><Relationship Id="rId70" Type="http://schemas.openxmlformats.org/officeDocument/2006/relationships/tags" Target="../tags/tag338.xml"/><Relationship Id="rId75" Type="http://schemas.openxmlformats.org/officeDocument/2006/relationships/tags" Target="../tags/tag343.xml"/><Relationship Id="rId83" Type="http://schemas.openxmlformats.org/officeDocument/2006/relationships/tags" Target="../tags/tag351.xml"/><Relationship Id="rId88" Type="http://schemas.openxmlformats.org/officeDocument/2006/relationships/tags" Target="../tags/tag356.xml"/><Relationship Id="rId91" Type="http://schemas.openxmlformats.org/officeDocument/2006/relationships/tags" Target="../tags/tag359.xml"/><Relationship Id="rId1" Type="http://schemas.openxmlformats.org/officeDocument/2006/relationships/tags" Target="../tags/tag269.xml"/><Relationship Id="rId6" Type="http://schemas.openxmlformats.org/officeDocument/2006/relationships/tags" Target="../tags/tag274.xml"/><Relationship Id="rId15" Type="http://schemas.openxmlformats.org/officeDocument/2006/relationships/tags" Target="../tags/tag283.xml"/><Relationship Id="rId23" Type="http://schemas.openxmlformats.org/officeDocument/2006/relationships/tags" Target="../tags/tag291.xml"/><Relationship Id="rId28" Type="http://schemas.openxmlformats.org/officeDocument/2006/relationships/tags" Target="../tags/tag296.xml"/><Relationship Id="rId36" Type="http://schemas.openxmlformats.org/officeDocument/2006/relationships/tags" Target="../tags/tag304.xml"/><Relationship Id="rId49" Type="http://schemas.openxmlformats.org/officeDocument/2006/relationships/tags" Target="../tags/tag317.xml"/><Relationship Id="rId57" Type="http://schemas.openxmlformats.org/officeDocument/2006/relationships/tags" Target="../tags/tag325.xml"/><Relationship Id="rId10" Type="http://schemas.openxmlformats.org/officeDocument/2006/relationships/tags" Target="../tags/tag278.xml"/><Relationship Id="rId31" Type="http://schemas.openxmlformats.org/officeDocument/2006/relationships/tags" Target="../tags/tag299.xml"/><Relationship Id="rId44" Type="http://schemas.openxmlformats.org/officeDocument/2006/relationships/tags" Target="../tags/tag312.xml"/><Relationship Id="rId52" Type="http://schemas.openxmlformats.org/officeDocument/2006/relationships/tags" Target="../tags/tag320.xml"/><Relationship Id="rId60" Type="http://schemas.openxmlformats.org/officeDocument/2006/relationships/tags" Target="../tags/tag328.xml"/><Relationship Id="rId65" Type="http://schemas.openxmlformats.org/officeDocument/2006/relationships/tags" Target="../tags/tag333.xml"/><Relationship Id="rId73" Type="http://schemas.openxmlformats.org/officeDocument/2006/relationships/tags" Target="../tags/tag341.xml"/><Relationship Id="rId78" Type="http://schemas.openxmlformats.org/officeDocument/2006/relationships/tags" Target="../tags/tag346.xml"/><Relationship Id="rId81" Type="http://schemas.openxmlformats.org/officeDocument/2006/relationships/tags" Target="../tags/tag349.xml"/><Relationship Id="rId86" Type="http://schemas.openxmlformats.org/officeDocument/2006/relationships/tags" Target="../tags/tag354.xml"/><Relationship Id="rId94" Type="http://schemas.openxmlformats.org/officeDocument/2006/relationships/oleObject" Target="../embeddings/oleObject3.bin"/><Relationship Id="rId4" Type="http://schemas.openxmlformats.org/officeDocument/2006/relationships/tags" Target="../tags/tag272.xml"/><Relationship Id="rId9" Type="http://schemas.openxmlformats.org/officeDocument/2006/relationships/tags" Target="../tags/tag277.xml"/><Relationship Id="rId13" Type="http://schemas.openxmlformats.org/officeDocument/2006/relationships/tags" Target="../tags/tag281.xml"/><Relationship Id="rId18" Type="http://schemas.openxmlformats.org/officeDocument/2006/relationships/tags" Target="../tags/tag286.xml"/><Relationship Id="rId39" Type="http://schemas.openxmlformats.org/officeDocument/2006/relationships/tags" Target="../tags/tag307.xml"/><Relationship Id="rId34" Type="http://schemas.openxmlformats.org/officeDocument/2006/relationships/tags" Target="../tags/tag302.xml"/><Relationship Id="rId50" Type="http://schemas.openxmlformats.org/officeDocument/2006/relationships/tags" Target="../tags/tag318.xml"/><Relationship Id="rId55" Type="http://schemas.openxmlformats.org/officeDocument/2006/relationships/tags" Target="../tags/tag323.xml"/><Relationship Id="rId76" Type="http://schemas.openxmlformats.org/officeDocument/2006/relationships/tags" Target="../tags/tag344.xml"/><Relationship Id="rId7" Type="http://schemas.openxmlformats.org/officeDocument/2006/relationships/tags" Target="../tags/tag275.xml"/><Relationship Id="rId71" Type="http://schemas.openxmlformats.org/officeDocument/2006/relationships/tags" Target="../tags/tag339.xml"/><Relationship Id="rId92" Type="http://schemas.openxmlformats.org/officeDocument/2006/relationships/slideLayout" Target="../slideLayouts/slideLayout9.xml"/><Relationship Id="rId2" Type="http://schemas.openxmlformats.org/officeDocument/2006/relationships/tags" Target="../tags/tag270.xml"/><Relationship Id="rId29" Type="http://schemas.openxmlformats.org/officeDocument/2006/relationships/tags" Target="../tags/tag297.xml"/><Relationship Id="rId24" Type="http://schemas.openxmlformats.org/officeDocument/2006/relationships/tags" Target="../tags/tag292.xml"/><Relationship Id="rId40" Type="http://schemas.openxmlformats.org/officeDocument/2006/relationships/tags" Target="../tags/tag308.xml"/><Relationship Id="rId45" Type="http://schemas.openxmlformats.org/officeDocument/2006/relationships/tags" Target="../tags/tag313.xml"/><Relationship Id="rId66" Type="http://schemas.openxmlformats.org/officeDocument/2006/relationships/tags" Target="../tags/tag334.xml"/><Relationship Id="rId87" Type="http://schemas.openxmlformats.org/officeDocument/2006/relationships/tags" Target="../tags/tag355.xml"/><Relationship Id="rId61" Type="http://schemas.openxmlformats.org/officeDocument/2006/relationships/tags" Target="../tags/tag329.xml"/><Relationship Id="rId82" Type="http://schemas.openxmlformats.org/officeDocument/2006/relationships/tags" Target="../tags/tag350.xml"/><Relationship Id="rId19" Type="http://schemas.openxmlformats.org/officeDocument/2006/relationships/tags" Target="../tags/tag287.xml"/><Relationship Id="rId14" Type="http://schemas.openxmlformats.org/officeDocument/2006/relationships/tags" Target="../tags/tag282.xml"/><Relationship Id="rId30" Type="http://schemas.openxmlformats.org/officeDocument/2006/relationships/tags" Target="../tags/tag298.xml"/><Relationship Id="rId35" Type="http://schemas.openxmlformats.org/officeDocument/2006/relationships/tags" Target="../tags/tag303.xml"/><Relationship Id="rId56" Type="http://schemas.openxmlformats.org/officeDocument/2006/relationships/tags" Target="../tags/tag324.xml"/><Relationship Id="rId77" Type="http://schemas.openxmlformats.org/officeDocument/2006/relationships/tags" Target="../tags/tag345.xml"/></Relationships>
</file>

<file path=ppt/slides/_rels/slide62.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image" Target="../media/image152.png"/><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4.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48.xml"/><Relationship Id="rId1" Type="http://schemas.openxmlformats.org/officeDocument/2006/relationships/slideLayout" Target="../slideLayouts/slideLayout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55.png"/></Relationships>
</file>

<file path=ppt/slides/_rels/slide6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9.xml"/><Relationship Id="rId1" Type="http://schemas.openxmlformats.org/officeDocument/2006/relationships/slideLayout" Target="../slideLayouts/slideLayout9.xml"/><Relationship Id="rId6" Type="http://schemas.openxmlformats.org/officeDocument/2006/relationships/image" Target="../media/image159.svg"/><Relationship Id="rId5" Type="http://schemas.openxmlformats.org/officeDocument/2006/relationships/image" Target="../media/image158.png"/><Relationship Id="rId4" Type="http://schemas.openxmlformats.org/officeDocument/2006/relationships/image" Target="../media/image157.png"/></Relationships>
</file>

<file path=ppt/slides/_rels/slide66.xml.rels><?xml version="1.0" encoding="UTF-8" standalone="yes"?>
<Relationships xmlns="http://schemas.openxmlformats.org/package/2006/relationships"><Relationship Id="rId3" Type="http://schemas.openxmlformats.org/officeDocument/2006/relationships/image" Target="../media/image160.gif"/><Relationship Id="rId2" Type="http://schemas.openxmlformats.org/officeDocument/2006/relationships/notesSlide" Target="../notesSlides/notesSlide50.xml"/><Relationship Id="rId1" Type="http://schemas.openxmlformats.org/officeDocument/2006/relationships/slideLayout" Target="../slideLayouts/slideLayout9.xml"/><Relationship Id="rId4" Type="http://schemas.openxmlformats.org/officeDocument/2006/relationships/image" Target="../media/image161.png"/></Relationships>
</file>

<file path=ppt/slides/_rels/slide6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51.xml"/><Relationship Id="rId1" Type="http://schemas.openxmlformats.org/officeDocument/2006/relationships/slideLayout" Target="../slideLayouts/slideLayout9.xml"/><Relationship Id="rId4" Type="http://schemas.openxmlformats.org/officeDocument/2006/relationships/image" Target="../media/image162.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70.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167.jpeg"/><Relationship Id="rId1" Type="http://schemas.openxmlformats.org/officeDocument/2006/relationships/slideLayout" Target="../slideLayouts/slideLayout2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5.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2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7.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9.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4.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0.xml"/></Relationships>
</file>

<file path=ppt/slides/_rels/slide86.xml.rels><?xml version="1.0" encoding="UTF-8" standalone="yes"?>
<Relationships xmlns="http://schemas.openxmlformats.org/package/2006/relationships"><Relationship Id="rId2" Type="http://schemas.openxmlformats.org/officeDocument/2006/relationships/image" Target="../media/image172.jpeg"/><Relationship Id="rId1" Type="http://schemas.openxmlformats.org/officeDocument/2006/relationships/slideLayout" Target="../slideLayouts/slideLayout5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9.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9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3.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7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4924425"/>
          </a:xfrm>
          <a:prstGeom prst="rect">
            <a:avLst/>
          </a:prstGeom>
          <a:noFill/>
        </p:spPr>
        <p:txBody>
          <a:bodyPr wrap="square" lIns="0" tIns="0" rIns="0" bIns="0" rtlCol="0">
            <a:spAutoFit/>
          </a:bodyPr>
          <a:lstStyle/>
          <a:p>
            <a:pPr algn="l"/>
            <a:r>
              <a:rPr lang="en-US" sz="2000" dirty="0">
                <a:hlinkClick r:id="rId3"/>
              </a:rPr>
              <a:t>GitHub (Day After Dashboard in a Day) </a:t>
            </a:r>
            <a:endParaRPr lang="en-US" sz="2000" dirty="0"/>
          </a:p>
          <a:p>
            <a:pPr algn="l"/>
            <a:r>
              <a:rPr lang="en-US" sz="2000" dirty="0">
                <a:hlinkClick r:id="rId4"/>
              </a:rPr>
              <a:t>Premium features of dataflows</a:t>
            </a:r>
            <a:endParaRPr lang="en-US" sz="2000" dirty="0"/>
          </a:p>
          <a:p>
            <a:pPr algn="l"/>
            <a:r>
              <a:rPr lang="en-US" sz="2000" dirty="0">
                <a:hlinkClick r:id="rId5"/>
              </a:rPr>
              <a:t>Power Query SDK </a:t>
            </a:r>
            <a:r>
              <a:rPr lang="en-US" sz="2000" dirty="0"/>
              <a:t>for Visual Studio</a:t>
            </a:r>
          </a:p>
          <a:p>
            <a:pPr algn="l"/>
            <a:r>
              <a:rPr lang="en-US" sz="2000" dirty="0">
                <a:hlinkClick r:id="rId6"/>
              </a:rPr>
              <a:t>Power Query M / VS Code </a:t>
            </a:r>
            <a:endParaRPr lang="en-US" sz="2000" dirty="0"/>
          </a:p>
          <a:p>
            <a:pPr algn="l"/>
            <a:r>
              <a:rPr lang="en-US" sz="2000" dirty="0">
                <a:hlinkClick r:id="rId7"/>
              </a:rPr>
              <a:t>#shared keyword for all Power Query functions</a:t>
            </a:r>
            <a:endParaRPr lang="en-US" sz="2000" dirty="0"/>
          </a:p>
          <a:p>
            <a:pPr algn="l"/>
            <a:r>
              <a:rPr lang="en-US" sz="2000" dirty="0">
                <a:hlinkClick r:id="rId8"/>
              </a:rPr>
              <a:t>Column </a:t>
            </a:r>
            <a:r>
              <a:rPr lang="en-US" sz="2000" dirty="0" err="1">
                <a:hlinkClick r:id="rId8"/>
              </a:rPr>
              <a:t>Renamer</a:t>
            </a:r>
            <a:r>
              <a:rPr lang="en-US" sz="2000" dirty="0">
                <a:hlinkClick r:id="rId8"/>
              </a:rPr>
              <a:t> Custom Function</a:t>
            </a:r>
            <a:r>
              <a:rPr lang="en-US" sz="2000" dirty="0"/>
              <a:t> (Pascal Case)</a:t>
            </a:r>
          </a:p>
          <a:p>
            <a:pPr algn="l"/>
            <a:r>
              <a:rPr lang="en-US" sz="2000" dirty="0">
                <a:hlinkClick r:id="rId9"/>
              </a:rPr>
              <a:t>Column </a:t>
            </a:r>
            <a:r>
              <a:rPr lang="en-US" sz="2000" dirty="0" err="1">
                <a:hlinkClick r:id="rId9"/>
              </a:rPr>
              <a:t>Renamer</a:t>
            </a:r>
            <a:r>
              <a:rPr lang="en-US" sz="2000" dirty="0">
                <a:hlinkClick r:id="rId9"/>
              </a:rPr>
              <a:t> Custom Function </a:t>
            </a:r>
            <a:r>
              <a:rPr lang="en-US" sz="2000" dirty="0"/>
              <a:t>(Underscore)</a:t>
            </a:r>
          </a:p>
          <a:p>
            <a:pPr algn="l"/>
            <a:r>
              <a:rPr lang="en-US" sz="2000" dirty="0">
                <a:hlinkClick r:id="rId10"/>
              </a:rPr>
              <a:t>PowerBI.tips Business Ops </a:t>
            </a:r>
            <a:r>
              <a:rPr lang="en-US" sz="2000" dirty="0"/>
              <a:t>(a community collection of External Tools)</a:t>
            </a:r>
          </a:p>
          <a:p>
            <a:pPr algn="l"/>
            <a:r>
              <a:rPr lang="en-US" sz="2000" dirty="0">
                <a:hlinkClick r:id="rId11"/>
              </a:rPr>
              <a:t>Everything you wanted to know about Incremental Refresh in Power BI</a:t>
            </a:r>
            <a:endParaRPr lang="en-US" sz="2000" dirty="0"/>
          </a:p>
          <a:p>
            <a:pPr algn="l"/>
            <a:r>
              <a:rPr lang="en-US" sz="2000" dirty="0">
                <a:hlinkClick r:id="rId12"/>
              </a:rPr>
              <a:t>The </a:t>
            </a:r>
            <a:r>
              <a:rPr lang="en-US" sz="2000" dirty="0" err="1">
                <a:hlinkClick r:id="rId12"/>
              </a:rPr>
              <a:t>VertiPaq</a:t>
            </a:r>
            <a:r>
              <a:rPr lang="en-US" sz="2000" dirty="0">
                <a:hlinkClick r:id="rId12"/>
              </a:rPr>
              <a:t> Engine in DAX</a:t>
            </a:r>
            <a:endParaRPr lang="en-US" sz="2000" dirty="0"/>
          </a:p>
          <a:p>
            <a:pPr algn="l"/>
            <a:r>
              <a:rPr lang="en-US" sz="2000" dirty="0">
                <a:hlinkClick r:id="rId13"/>
              </a:rPr>
              <a:t>SQLBI Training</a:t>
            </a:r>
            <a:endParaRPr lang="en-US" sz="2000" dirty="0"/>
          </a:p>
          <a:p>
            <a:pPr algn="l"/>
            <a:r>
              <a:rPr lang="en-US" sz="2000" dirty="0">
                <a:hlinkClick r:id="rId14"/>
              </a:rPr>
              <a:t>Design effective reports in Power BI </a:t>
            </a:r>
            <a:endParaRPr lang="en-US" sz="2000" dirty="0"/>
          </a:p>
          <a:p>
            <a:pPr algn="l"/>
            <a:r>
              <a:rPr lang="en-US" sz="2000" dirty="0">
                <a:hlinkClick r:id="rId15"/>
              </a:rPr>
              <a:t>Themeable backgrounds for Power BI </a:t>
            </a:r>
            <a:r>
              <a:rPr lang="en-US" sz="2000" dirty="0"/>
              <a:t>(PowerPoint)</a:t>
            </a:r>
          </a:p>
          <a:p>
            <a:pPr algn="l"/>
            <a:r>
              <a:rPr lang="en-US" sz="2000" dirty="0">
                <a:hlinkClick r:id="rId16"/>
              </a:rPr>
              <a:t>Building a Data Culture</a:t>
            </a:r>
            <a:endParaRPr lang="en-US" sz="2000" dirty="0"/>
          </a:p>
          <a:p>
            <a:pPr algn="l"/>
            <a:r>
              <a:rPr lang="en-US" sz="2000" dirty="0">
                <a:hlinkClick r:id="rId17"/>
              </a:rPr>
              <a:t>Customer Success Stories</a:t>
            </a:r>
            <a:endParaRPr lang="en-US" sz="2000" dirty="0"/>
          </a:p>
          <a:p>
            <a:pPr algn="l"/>
            <a:r>
              <a:rPr lang="en-US" sz="2000" dirty="0">
                <a:hlinkClick r:id="rId18"/>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71252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146292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142149575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82076094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Advanced Filtering</a:t>
            </a:r>
          </a:p>
        </p:txBody>
      </p:sp>
      <p:sp>
        <p:nvSpPr>
          <p:cNvPr id="2" name="Text Placeholder 2">
            <a:extLst>
              <a:ext uri="{FF2B5EF4-FFF2-40B4-BE49-F238E27FC236}">
                <a16:creationId xmlns:a16="http://schemas.microsoft.com/office/drawing/2014/main" id="{190C4945-3DD8-3C73-DBC7-E42C097C5295}"/>
              </a:ext>
            </a:extLst>
          </p:cNvPr>
          <p:cNvSpPr txBox="1">
            <a:spLocks/>
          </p:cNvSpPr>
          <p:nvPr/>
        </p:nvSpPr>
        <p:spPr>
          <a:xfrm>
            <a:off x="595839" y="1464333"/>
            <a:ext cx="11839049" cy="4520918"/>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Visual interactions (use CTRL-click to filter multiple elements)</a:t>
            </a:r>
          </a:p>
          <a:p>
            <a:r>
              <a:rPr lang="en-US"/>
              <a:t>Drillthrough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endParaRPr lang="en-US" dirty="0"/>
          </a:p>
        </p:txBody>
      </p:sp>
    </p:spTree>
    <p:extLst>
      <p:ext uri="{BB962C8B-B14F-4D97-AF65-F5344CB8AC3E}">
        <p14:creationId xmlns:p14="http://schemas.microsoft.com/office/powerpoint/2010/main" val="367195632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aphicFrame>
        <p:nvGraphicFramePr>
          <p:cNvPr id="3" name="Table 3">
            <a:extLst>
              <a:ext uri="{FF2B5EF4-FFF2-40B4-BE49-F238E27FC236}">
                <a16:creationId xmlns:a16="http://schemas.microsoft.com/office/drawing/2014/main" id="{305ED987-18B8-B4D2-CE96-EE03D99805E5}"/>
              </a:ext>
            </a:extLst>
          </p:cNvPr>
          <p:cNvGraphicFramePr>
            <a:graphicFrameLocks noGrp="1"/>
          </p:cNvGraphicFramePr>
          <p:nvPr>
            <p:extLst>
              <p:ext uri="{D42A27DB-BD31-4B8C-83A1-F6EECF244321}">
                <p14:modId xmlns:p14="http://schemas.microsoft.com/office/powerpoint/2010/main" val="1955933627"/>
              </p:ext>
            </p:extLst>
          </p:nvPr>
        </p:nvGraphicFramePr>
        <p:xfrm>
          <a:off x="351062" y="1211266"/>
          <a:ext cx="41806365" cy="5372100"/>
        </p:xfrm>
        <a:graphic>
          <a:graphicData uri="http://schemas.openxmlformats.org/drawingml/2006/table">
            <a:tbl>
              <a:tblPr firstRow="1" bandRow="1">
                <a:tableStyleId>{2D5ABB26-0587-4C30-8999-92F81FD0307C}</a:tableStyleId>
              </a:tblPr>
              <a:tblGrid>
                <a:gridCol w="2200335">
                  <a:extLst>
                    <a:ext uri="{9D8B030D-6E8A-4147-A177-3AD203B41FA5}">
                      <a16:colId xmlns:a16="http://schemas.microsoft.com/office/drawing/2014/main" val="1679437832"/>
                    </a:ext>
                  </a:extLst>
                </a:gridCol>
                <a:gridCol w="2200335">
                  <a:extLst>
                    <a:ext uri="{9D8B030D-6E8A-4147-A177-3AD203B41FA5}">
                      <a16:colId xmlns:a16="http://schemas.microsoft.com/office/drawing/2014/main" val="2894181917"/>
                    </a:ext>
                  </a:extLst>
                </a:gridCol>
                <a:gridCol w="2200335">
                  <a:extLst>
                    <a:ext uri="{9D8B030D-6E8A-4147-A177-3AD203B41FA5}">
                      <a16:colId xmlns:a16="http://schemas.microsoft.com/office/drawing/2014/main" val="719360535"/>
                    </a:ext>
                  </a:extLst>
                </a:gridCol>
                <a:gridCol w="2200335">
                  <a:extLst>
                    <a:ext uri="{9D8B030D-6E8A-4147-A177-3AD203B41FA5}">
                      <a16:colId xmlns:a16="http://schemas.microsoft.com/office/drawing/2014/main" val="3729720052"/>
                    </a:ext>
                  </a:extLst>
                </a:gridCol>
                <a:gridCol w="2200335">
                  <a:extLst>
                    <a:ext uri="{9D8B030D-6E8A-4147-A177-3AD203B41FA5}">
                      <a16:colId xmlns:a16="http://schemas.microsoft.com/office/drawing/2014/main" val="1089865159"/>
                    </a:ext>
                  </a:extLst>
                </a:gridCol>
                <a:gridCol w="2200335">
                  <a:extLst>
                    <a:ext uri="{9D8B030D-6E8A-4147-A177-3AD203B41FA5}">
                      <a16:colId xmlns:a16="http://schemas.microsoft.com/office/drawing/2014/main" val="1774398492"/>
                    </a:ext>
                  </a:extLst>
                </a:gridCol>
                <a:gridCol w="2200335">
                  <a:extLst>
                    <a:ext uri="{9D8B030D-6E8A-4147-A177-3AD203B41FA5}">
                      <a16:colId xmlns:a16="http://schemas.microsoft.com/office/drawing/2014/main" val="1269335221"/>
                    </a:ext>
                  </a:extLst>
                </a:gridCol>
                <a:gridCol w="2200335">
                  <a:extLst>
                    <a:ext uri="{9D8B030D-6E8A-4147-A177-3AD203B41FA5}">
                      <a16:colId xmlns:a16="http://schemas.microsoft.com/office/drawing/2014/main" val="3175524426"/>
                    </a:ext>
                  </a:extLst>
                </a:gridCol>
                <a:gridCol w="2200335">
                  <a:extLst>
                    <a:ext uri="{9D8B030D-6E8A-4147-A177-3AD203B41FA5}">
                      <a16:colId xmlns:a16="http://schemas.microsoft.com/office/drawing/2014/main" val="523902797"/>
                    </a:ext>
                  </a:extLst>
                </a:gridCol>
                <a:gridCol w="2200335">
                  <a:extLst>
                    <a:ext uri="{9D8B030D-6E8A-4147-A177-3AD203B41FA5}">
                      <a16:colId xmlns:a16="http://schemas.microsoft.com/office/drawing/2014/main" val="2860267592"/>
                    </a:ext>
                  </a:extLst>
                </a:gridCol>
                <a:gridCol w="2200335">
                  <a:extLst>
                    <a:ext uri="{9D8B030D-6E8A-4147-A177-3AD203B41FA5}">
                      <a16:colId xmlns:a16="http://schemas.microsoft.com/office/drawing/2014/main" val="1889120822"/>
                    </a:ext>
                  </a:extLst>
                </a:gridCol>
                <a:gridCol w="2200335">
                  <a:extLst>
                    <a:ext uri="{9D8B030D-6E8A-4147-A177-3AD203B41FA5}">
                      <a16:colId xmlns:a16="http://schemas.microsoft.com/office/drawing/2014/main" val="536730924"/>
                    </a:ext>
                  </a:extLst>
                </a:gridCol>
                <a:gridCol w="2200335">
                  <a:extLst>
                    <a:ext uri="{9D8B030D-6E8A-4147-A177-3AD203B41FA5}">
                      <a16:colId xmlns:a16="http://schemas.microsoft.com/office/drawing/2014/main" val="1324341732"/>
                    </a:ext>
                  </a:extLst>
                </a:gridCol>
                <a:gridCol w="2200335">
                  <a:extLst>
                    <a:ext uri="{9D8B030D-6E8A-4147-A177-3AD203B41FA5}">
                      <a16:colId xmlns:a16="http://schemas.microsoft.com/office/drawing/2014/main" val="1495050791"/>
                    </a:ext>
                  </a:extLst>
                </a:gridCol>
                <a:gridCol w="2200335">
                  <a:extLst>
                    <a:ext uri="{9D8B030D-6E8A-4147-A177-3AD203B41FA5}">
                      <a16:colId xmlns:a16="http://schemas.microsoft.com/office/drawing/2014/main" val="3455985341"/>
                    </a:ext>
                  </a:extLst>
                </a:gridCol>
                <a:gridCol w="2200335">
                  <a:extLst>
                    <a:ext uri="{9D8B030D-6E8A-4147-A177-3AD203B41FA5}">
                      <a16:colId xmlns:a16="http://schemas.microsoft.com/office/drawing/2014/main" val="936797185"/>
                    </a:ext>
                  </a:extLst>
                </a:gridCol>
                <a:gridCol w="2200335">
                  <a:extLst>
                    <a:ext uri="{9D8B030D-6E8A-4147-A177-3AD203B41FA5}">
                      <a16:colId xmlns:a16="http://schemas.microsoft.com/office/drawing/2014/main" val="437432370"/>
                    </a:ext>
                  </a:extLst>
                </a:gridCol>
                <a:gridCol w="2200335">
                  <a:extLst>
                    <a:ext uri="{9D8B030D-6E8A-4147-A177-3AD203B41FA5}">
                      <a16:colId xmlns:a16="http://schemas.microsoft.com/office/drawing/2014/main" val="2922981808"/>
                    </a:ext>
                  </a:extLst>
                </a:gridCol>
                <a:gridCol w="2200335">
                  <a:extLst>
                    <a:ext uri="{9D8B030D-6E8A-4147-A177-3AD203B41FA5}">
                      <a16:colId xmlns:a16="http://schemas.microsoft.com/office/drawing/2014/main" val="4233200797"/>
                    </a:ext>
                  </a:extLst>
                </a:gridCol>
              </a:tblGrid>
              <a:tr h="0">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j-lt"/>
                        </a:rPr>
                        <a:t>January/February 2020</a:t>
                      </a:r>
                    </a:p>
                  </a:txBody>
                  <a:tcPr anchor="ctr">
                    <a:lnR w="12700" cap="flat" cmpd="sng" algn="ctr">
                      <a:solidFill>
                        <a:schemeClr val="bg1"/>
                      </a:solidFill>
                      <a:prstDash val="solid"/>
                      <a:round/>
                      <a:headEnd type="none" w="med" len="med"/>
                      <a:tailEnd type="none" w="med" len="med"/>
                    </a:lnR>
                    <a:solidFill>
                      <a:srgbClr val="F2C811"/>
                    </a:solidFill>
                  </a:tcPr>
                </a:tc>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j-lt"/>
                        </a:rPr>
                        <a:t>March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April/May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une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uly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August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September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October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November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December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anuary / February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March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April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May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une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uly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August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September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endParaRPr lang="en-US" sz="1200" b="0" dirty="0">
                        <a:latin typeface="+mj-lt"/>
                      </a:endParaRPr>
                    </a:p>
                  </a:txBody>
                  <a:tcPr anchor="ctr">
                    <a:lnL w="12700" cap="flat" cmpd="sng" algn="ctr">
                      <a:solidFill>
                        <a:schemeClr val="bg1"/>
                      </a:solidFill>
                      <a:prstDash val="solid"/>
                      <a:round/>
                      <a:headEnd type="none" w="med" len="med"/>
                      <a:tailEnd type="none" w="med" len="med"/>
                    </a:lnL>
                    <a:solidFill>
                      <a:srgbClr val="F2C811"/>
                    </a:solidFill>
                  </a:tcPr>
                </a:tc>
                <a:extLst>
                  <a:ext uri="{0D108BD9-81ED-4DB2-BD59-A6C34878D82A}">
                    <a16:rowId xmlns:a16="http://schemas.microsoft.com/office/drawing/2014/main" val="1882843492"/>
                  </a:ext>
                </a:extLst>
              </a:tr>
              <a:tr h="980821">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500" dirty="0" err="1">
                          <a:solidFill>
                            <a:schemeClr val="tx1"/>
                          </a:solidFill>
                          <a:latin typeface="Segoe UI" panose="020B0502040204020203" pitchFamily="34" charset="0"/>
                          <a:cs typeface="Segoe UI" panose="020B0502040204020203" pitchFamily="34" charset="0"/>
                        </a:rPr>
                        <a:t>Keytips</a:t>
                      </a:r>
                      <a:endParaRPr lang="en-US" sz="500" dirty="0">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spcAft>
                          <a:spcPts val="102"/>
                        </a:spcAft>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500" dirty="0" err="1">
                          <a:solidFill>
                            <a:schemeClr val="tx1"/>
                          </a:solidFill>
                          <a:latin typeface="Segoe UI" panose="020B0502040204020203" pitchFamily="34" charset="0"/>
                          <a:cs typeface="Segoe UI" panose="020B0502040204020203" pitchFamily="34" charset="0"/>
                        </a:rPr>
                        <a:t>FirstNonBlankValue</a:t>
                      </a:r>
                      <a:endParaRPr lang="en-US" sz="500" dirty="0">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500" dirty="0" err="1">
                          <a:solidFill>
                            <a:schemeClr val="tx1"/>
                          </a:solidFill>
                          <a:latin typeface="Segoe UI" panose="020B0502040204020203" pitchFamily="34" charset="0"/>
                          <a:cs typeface="Segoe UI" panose="020B0502040204020203" pitchFamily="34" charset="0"/>
                        </a:rPr>
                        <a:t>LastNonBlankValue</a:t>
                      </a:r>
                      <a:endParaRPr lang="en-US"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spcAft>
                          <a:spcPts val="102"/>
                        </a:spcAft>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unnel and pyramid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I </a:t>
                      </a:r>
                      <a:r>
                        <a:rPr lang="en-US" sz="600" dirty="0" err="1">
                          <a:solidFill>
                            <a:schemeClr val="tx1"/>
                          </a:solidFill>
                          <a:latin typeface="Segoe UI" panose="020B0502040204020203" pitchFamily="34" charset="0"/>
                          <a:cs typeface="Segoe UI" panose="020B0502040204020203" pitchFamily="34" charset="0"/>
                        </a:rPr>
                        <a:t>VIZpack</a:t>
                      </a:r>
                      <a:r>
                        <a:rPr lang="en-US" sz="600" dirty="0">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spcAft>
                          <a:spcPts val="102"/>
                        </a:spcAft>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Acterys</a:t>
                      </a:r>
                      <a:r>
                        <a:rPr lang="en-US" sz="600" dirty="0">
                          <a:solidFill>
                            <a:schemeClr val="tx1"/>
                          </a:solidFill>
                          <a:latin typeface="Segoe UI" panose="020B0502040204020203" pitchFamily="34" charset="0"/>
                          <a:cs typeface="Segoe UI" panose="020B0502040204020203" pitchFamily="34" charset="0"/>
                        </a:rPr>
                        <a:t> for </a:t>
                      </a:r>
                      <a:r>
                        <a:rPr lang="en-US" sz="600" dirty="0" err="1">
                          <a:solidFill>
                            <a:schemeClr val="tx1"/>
                          </a:solidFill>
                          <a:latin typeface="Segoe UI" panose="020B0502040204020203" pitchFamily="34" charset="0"/>
                          <a:cs typeface="Segoe UI" panose="020B0502040204020203" pitchFamily="34" charset="0"/>
                        </a:rPr>
                        <a:t>Quickbooks</a:t>
                      </a:r>
                      <a:r>
                        <a:rPr lang="en-US" sz="600" dirty="0">
                          <a:solidFill>
                            <a:schemeClr val="tx1"/>
                          </a:solidFill>
                          <a:latin typeface="Segoe UI" panose="020B0502040204020203" pitchFamily="34" charset="0"/>
                          <a:cs typeface="Segoe UI" panose="020B0502040204020203" pitchFamily="34" charset="0"/>
                        </a:rPr>
                        <a:t>, Xero &amp; </a:t>
                      </a:r>
                      <a:r>
                        <a:rPr lang="en-US" sz="600" dirty="0" err="1">
                          <a:solidFill>
                            <a:schemeClr val="tx1"/>
                          </a:solidFill>
                          <a:latin typeface="Segoe UI" panose="020B0502040204020203" pitchFamily="34" charset="0"/>
                          <a:cs typeface="Segoe UI" panose="020B0502040204020203" pitchFamily="34" charset="0"/>
                        </a:rPr>
                        <a:t>WorkflowMax</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Factset</a:t>
                      </a:r>
                      <a:r>
                        <a:rPr lang="en-US" sz="600" dirty="0">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Jamf</a:t>
                      </a:r>
                      <a:r>
                        <a:rPr lang="en-US" sz="600" dirty="0">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eatured content in Power BI home</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Waterfall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TeamsPower</a:t>
                      </a:r>
                      <a:r>
                        <a:rPr lang="en-US" sz="600" dirty="0">
                          <a:solidFill>
                            <a:schemeClr val="tx1"/>
                          </a:solidFill>
                          <a:latin typeface="Segoe UI" panose="020B0502040204020203" pitchFamily="34" charset="0"/>
                          <a:cs typeface="Segoe UI" panose="020B0502040204020203" pitchFamily="34" charset="0"/>
                        </a:rPr>
                        <a:t> by </a:t>
                      </a:r>
                      <a:r>
                        <a:rPr lang="en-US" sz="600" dirty="0" err="1">
                          <a:solidFill>
                            <a:schemeClr val="tx1"/>
                          </a:solidFill>
                          <a:latin typeface="Segoe UI" panose="020B0502040204020203" pitchFamily="34" charset="0"/>
                          <a:cs typeface="Segoe UI" panose="020B0502040204020203" pitchFamily="34" charset="0"/>
                        </a:rPr>
                        <a:t>Encamina</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Cognite</a:t>
                      </a:r>
                      <a:r>
                        <a:rPr lang="en-US" sz="600" dirty="0">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mobile Interaction settings</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page refresh for </a:t>
                      </a:r>
                      <a:r>
                        <a:rPr lang="en-US" sz="600" dirty="0" err="1">
                          <a:solidFill>
                            <a:schemeClr val="tx1"/>
                          </a:solidFill>
                          <a:latin typeface="Segoe UI" panose="020B0502040204020203" pitchFamily="34" charset="0"/>
                          <a:cs typeface="Segoe UI" panose="020B0502040204020203" pitchFamily="34" charset="0"/>
                        </a:rPr>
                        <a:t>DirectQuery</a:t>
                      </a:r>
                      <a:r>
                        <a:rPr lang="en-US" sz="600" dirty="0">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a:t>
                      </a:r>
                      <a:r>
                        <a:rPr lang="en-US" sz="600" dirty="0" err="1">
                          <a:solidFill>
                            <a:schemeClr val="tx1"/>
                          </a:solidFill>
                          <a:latin typeface="Segoe UI" panose="020B0502040204020203" pitchFamily="34" charset="0"/>
                          <a:cs typeface="Segoe UI" panose="020B0502040204020203" pitchFamily="34" charset="0"/>
                        </a:rPr>
                        <a:t>xViz</a:t>
                      </a:r>
                      <a:r>
                        <a:rPr lang="en-US" sz="600" dirty="0">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agra </a:t>
                      </a:r>
                      <a:r>
                        <a:rPr lang="en-US" sz="600" dirty="0" err="1">
                          <a:solidFill>
                            <a:schemeClr val="tx1"/>
                          </a:solidFill>
                          <a:latin typeface="Segoe UI" panose="020B0502040204020203" pitchFamily="34" charset="0"/>
                          <a:cs typeface="Segoe UI" panose="020B0502040204020203" pitchFamily="34" charset="0"/>
                        </a:rPr>
                        <a:t>Emigo</a:t>
                      </a:r>
                      <a:r>
                        <a:rPr lang="en-US" sz="600" dirty="0">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file format: .</a:t>
                      </a:r>
                      <a:r>
                        <a:rPr lang="en-US" sz="600" dirty="0" err="1">
                          <a:solidFill>
                            <a:schemeClr val="tx1"/>
                          </a:solidFill>
                          <a:latin typeface="Segoe UI" panose="020B0502040204020203" pitchFamily="34" charset="0"/>
                          <a:cs typeface="Segoe UI" panose="020B0502040204020203" pitchFamily="34" charset="0"/>
                        </a:rPr>
                        <a:t>pbids</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600" b="1" cap="all" dirty="0">
                        <a:solidFill>
                          <a:schemeClr val="tx1"/>
                        </a:solidFill>
                        <a:latin typeface="+mn-lt"/>
                      </a:endParaRPr>
                    </a:p>
                    <a:p>
                      <a:pPr defTabSz="950661">
                        <a:spcBef>
                          <a:spcPts val="612"/>
                        </a:spcBef>
                        <a:spcAft>
                          <a:spcPts val="102"/>
                        </a:spcAft>
                        <a:defRPr/>
                      </a:pPr>
                      <a:endParaRPr lang="en-US" sz="600" b="1" cap="all" dirty="0">
                        <a:solidFill>
                          <a:schemeClr val="tx1"/>
                        </a:solidFill>
                        <a:latin typeface="+mn-lt"/>
                      </a:endParaRPr>
                    </a:p>
                    <a:p>
                      <a:pPr defTabSz="950661">
                        <a:spcBef>
                          <a:spcPts val="612"/>
                        </a:spcBef>
                        <a:spcAft>
                          <a:spcPts val="102"/>
                        </a:spcAft>
                        <a:defRPr/>
                      </a:pPr>
                      <a:endParaRPr lang="en-US" sz="600" b="1" cap="all"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ValQ</a:t>
                      </a:r>
                      <a:r>
                        <a:rPr lang="en-US" sz="600" dirty="0">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vanced Trellis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Gantt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Cards with States by </a:t>
                      </a:r>
                      <a:r>
                        <a:rPr lang="en-US" sz="600" dirty="0" err="1">
                          <a:solidFill>
                            <a:schemeClr val="tx1"/>
                          </a:solidFill>
                          <a:latin typeface="Segoe UI" panose="020B0502040204020203" pitchFamily="34" charset="0"/>
                          <a:cs typeface="Segoe UI" panose="020B0502040204020203" pitchFamily="34" charset="0"/>
                        </a:rPr>
                        <a:t>OKViz</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600" b="1" cap="all" dirty="0">
                          <a:solidFill>
                            <a:schemeClr val="tx1"/>
                          </a:solidFill>
                          <a:latin typeface="+mn-lt"/>
                        </a:rPr>
                        <a:t>MODEL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600" b="1"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Multi-Axis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MODEL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600" b="1" cap="all"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ear Gauge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vanced Pie &amp; Donu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rill down Pie PRO by </a:t>
                      </a:r>
                      <a:r>
                        <a:rPr lang="en-US" sz="600" dirty="0" err="1">
                          <a:solidFill>
                            <a:schemeClr val="tx1"/>
                          </a:solidFill>
                          <a:latin typeface="Segoe UI" panose="020B0502040204020203" pitchFamily="34" charset="0"/>
                          <a:cs typeface="Segoe UI" panose="020B0502040204020203" pitchFamily="34" charset="0"/>
                        </a:rPr>
                        <a:t>ZoomCharts</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Acterys</a:t>
                      </a:r>
                      <a:r>
                        <a:rPr lang="en-US" sz="600" dirty="0">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600" b="1" cap="all"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600" b="1" cap="all" dirty="0">
                          <a:solidFill>
                            <a:schemeClr val="tx1"/>
                          </a:solidFill>
                          <a:latin typeface="+mn-lt"/>
                        </a:rPr>
                        <a:t>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600" b="1" cap="all" dirty="0">
                          <a:solidFill>
                            <a:schemeClr val="tx1"/>
                          </a:solidFill>
                          <a:latin typeface="+mn-lt"/>
                        </a:rPr>
                        <a:t>SERVICE</a:t>
                      </a:r>
                    </a:p>
                    <a:p>
                      <a:pPr defTabSz="950661">
                        <a:spcBef>
                          <a:spcPts val="612"/>
                        </a:spcBef>
                        <a:spcAft>
                          <a:spcPts val="102"/>
                        </a:spcAft>
                        <a:defRPr/>
                      </a:pPr>
                      <a:r>
                        <a:rPr lang="en-US" sz="600" b="1" cap="all" dirty="0">
                          <a:solidFill>
                            <a:schemeClr val="tx1"/>
                          </a:solidFill>
                          <a:latin typeface="+mn-lt"/>
                        </a:rPr>
                        <a:t>New capabilities in lineage 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600" b="1" cap="all" dirty="0">
                          <a:solidFill>
                            <a:schemeClr val="tx1"/>
                          </a:solidFill>
                          <a:latin typeface="+mn-lt"/>
                        </a:rPr>
                        <a:t>MODEL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ollage by </a:t>
                      </a:r>
                      <a:r>
                        <a:rPr lang="en-US" sz="600" dirty="0" err="1">
                          <a:solidFill>
                            <a:schemeClr val="tx1"/>
                          </a:solidFill>
                          <a:latin typeface="Segoe UI" panose="020B0502040204020203" pitchFamily="34" charset="0"/>
                          <a:cs typeface="Segoe UI" panose="020B0502040204020203" pitchFamily="34" charset="0"/>
                        </a:rPr>
                        <a:t>CloudScope</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vanced Trellis / Small Multiples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Waterfall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600" b="1" cap="all"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oint rectangle select for </a:t>
                      </a:r>
                      <a:r>
                        <a:rPr lang="en-US" sz="600" dirty="0" err="1">
                          <a:solidFill>
                            <a:schemeClr val="tx1"/>
                          </a:solidFill>
                          <a:latin typeface="Segoe UI" panose="020B0502040204020203" pitchFamily="34" charset="0"/>
                          <a:cs typeface="Segoe UI" panose="020B0502040204020203" pitchFamily="34" charset="0"/>
                        </a:rPr>
                        <a:t>Treemap</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600" b="1" cap="all" dirty="0">
                          <a:solidFill>
                            <a:schemeClr val="tx1"/>
                          </a:solidFill>
                          <a:latin typeface="+mn-lt"/>
                        </a:rPr>
                        <a:t>MODELING</a:t>
                      </a:r>
                    </a:p>
                    <a:p>
                      <a:pPr defTabSz="950661">
                        <a:spcBef>
                          <a:spcPts val="612"/>
                        </a:spcBef>
                        <a:spcAft>
                          <a:spcPts val="102"/>
                        </a:spcAft>
                        <a:defRPr/>
                      </a:pPr>
                      <a:r>
                        <a:rPr lang="en-US" sz="600" b="1" cap="all" dirty="0">
                          <a:solidFill>
                            <a:schemeClr val="tx1"/>
                          </a:solidFill>
                          <a:latin typeface="+mn-lt"/>
                        </a:rPr>
                        <a:t>Performance improvements to IF and SWITCH functions</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ariaDB now supports </a:t>
                      </a:r>
                      <a:r>
                        <a:rPr lang="en-US" sz="600" dirty="0" err="1">
                          <a:solidFill>
                            <a:schemeClr val="tx1"/>
                          </a:solidFill>
                          <a:latin typeface="Segoe UI" panose="020B0502040204020203" pitchFamily="34" charset="0"/>
                          <a:cs typeface="Segoe UI" panose="020B0502040204020203" pitchFamily="34" charset="0"/>
                        </a:rPr>
                        <a:t>DirectQuery</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connectors (</a:t>
                      </a:r>
                      <a:r>
                        <a:rPr lang="en-US" sz="600" dirty="0" err="1">
                          <a:solidFill>
                            <a:schemeClr val="tx1"/>
                          </a:solidFill>
                          <a:latin typeface="Segoe UI" panose="020B0502040204020203" pitchFamily="34" charset="0"/>
                          <a:cs typeface="Segoe UI" panose="020B0502040204020203" pitchFamily="34" charset="0"/>
                        </a:rPr>
                        <a:t>Spigit</a:t>
                      </a:r>
                      <a:r>
                        <a:rPr lang="en-US" sz="600" dirty="0">
                          <a:solidFill>
                            <a:schemeClr val="tx1"/>
                          </a:solidFill>
                          <a:latin typeface="Segoe UI" panose="020B0502040204020203" pitchFamily="34" charset="0"/>
                          <a:cs typeface="Segoe UI" panose="020B0502040204020203" pitchFamily="34" charset="0"/>
                        </a:rPr>
                        <a:t>, </a:t>
                      </a:r>
                      <a:r>
                        <a:rPr lang="en-US" sz="600" dirty="0" err="1">
                          <a:solidFill>
                            <a:schemeClr val="tx1"/>
                          </a:solidFill>
                          <a:latin typeface="Segoe UI" panose="020B0502040204020203" pitchFamily="34" charset="0"/>
                          <a:cs typeface="Segoe UI" panose="020B0502040204020203" pitchFamily="34" charset="0"/>
                        </a:rPr>
                        <a:t>eWay</a:t>
                      </a:r>
                      <a:r>
                        <a:rPr lang="en-US" sz="600" dirty="0">
                          <a:solidFill>
                            <a:schemeClr val="tx1"/>
                          </a:solidFill>
                          <a:latin typeface="Segoe UI" panose="020B0502040204020203" pitchFamily="34" charset="0"/>
                          <a:cs typeface="Segoe UI" panose="020B0502040204020203" pitchFamily="34" charset="0"/>
                        </a:rPr>
                        <a:t>-CRM)</a:t>
                      </a:r>
                    </a:p>
                    <a:p>
                      <a:pPr defTabSz="950661">
                        <a:spcBef>
                          <a:spcPts val="612"/>
                        </a:spcBef>
                        <a:spcAft>
                          <a:spcPts val="102"/>
                        </a:spcAft>
                        <a:defRPr/>
                      </a:pPr>
                      <a:r>
                        <a:rPr lang="en-US" sz="600" b="1" cap="all" dirty="0">
                          <a:solidFill>
                            <a:schemeClr val="tx1"/>
                          </a:solidFill>
                          <a:latin typeface="+mn-lt"/>
                        </a:rPr>
                        <a:t>SERVIC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600" b="1" cap="all" dirty="0">
                          <a:solidFill>
                            <a:schemeClr val="tx1"/>
                          </a:solidFill>
                          <a:latin typeface="+mn-lt"/>
                        </a:rPr>
                        <a:t>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ZoomCharts</a:t>
                      </a:r>
                      <a:r>
                        <a:rPr lang="en-US" sz="600" dirty="0">
                          <a:solidFill>
                            <a:schemeClr val="tx1"/>
                          </a:solidFill>
                          <a:latin typeface="Segoe UI" panose="020B0502040204020203" pitchFamily="34" charset="0"/>
                          <a:cs typeface="Segoe UI" panose="020B0502040204020203" pitchFamily="34" charset="0"/>
                        </a:rPr>
                        <a:t> (version 1.6)</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Bullet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esktop splash screen dismiss</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Visual by </a:t>
                      </a:r>
                      <a:r>
                        <a:rPr lang="en-US" sz="600" dirty="0" err="1">
                          <a:solidFill>
                            <a:schemeClr val="tx1"/>
                          </a:solidFill>
                          <a:latin typeface="Segoe UI" panose="020B0502040204020203" pitchFamily="34" charset="0"/>
                          <a:cs typeface="Segoe UI" panose="020B0502040204020203" pitchFamily="34" charset="0"/>
                        </a:rPr>
                        <a:t>ZoomCharts</a:t>
                      </a:r>
                      <a:r>
                        <a:rPr lang="en-US" sz="600" dirty="0">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xViz</a:t>
                      </a:r>
                      <a:r>
                        <a:rPr lang="en-US" sz="600" dirty="0">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connectors: </a:t>
                      </a:r>
                      <a:r>
                        <a:rPr lang="en-US" sz="600" dirty="0" err="1">
                          <a:solidFill>
                            <a:schemeClr val="tx1"/>
                          </a:solidFill>
                          <a:latin typeface="Segoe UI" panose="020B0502040204020203" pitchFamily="34" charset="0"/>
                          <a:cs typeface="Segoe UI" panose="020B0502040204020203" pitchFamily="34" charset="0"/>
                        </a:rPr>
                        <a:t>Actian</a:t>
                      </a:r>
                      <a:r>
                        <a:rPr lang="en-US" sz="600" dirty="0">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he ‘new look’ of the Power BI service is live</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DirectQuery</a:t>
                      </a:r>
                      <a:r>
                        <a:rPr lang="en-US" sz="600" dirty="0">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AdaptiveCards</a:t>
                      </a:r>
                      <a:r>
                        <a:rPr lang="en-US" sz="600" dirty="0">
                          <a:solidFill>
                            <a:schemeClr val="tx1"/>
                          </a:solidFill>
                          <a:latin typeface="Segoe UI" panose="020B0502040204020203" pitchFamily="34" charset="0"/>
                          <a:cs typeface="Segoe UI" panose="020B0502040204020203" pitchFamily="34" charset="0"/>
                        </a:rPr>
                        <a:t> by Paradigm BI</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d Intelligent Narratives for BI by </a:t>
                      </a:r>
                      <a:r>
                        <a:rPr lang="en-US" sz="600" dirty="0" err="1">
                          <a:solidFill>
                            <a:schemeClr val="tx1"/>
                          </a:solidFill>
                          <a:latin typeface="Segoe UI" panose="020B0502040204020203" pitchFamily="34" charset="0"/>
                          <a:cs typeface="Segoe UI" panose="020B0502040204020203" pitchFamily="34" charset="0"/>
                        </a:rPr>
                        <a:t>Arria</a:t>
                      </a:r>
                      <a:r>
                        <a:rPr lang="en-US" sz="600" dirty="0">
                          <a:solidFill>
                            <a:schemeClr val="tx1"/>
                          </a:solidFill>
                          <a:latin typeface="Segoe UI" panose="020B0502040204020203" pitchFamily="34" charset="0"/>
                          <a:cs typeface="Segoe UI" panose="020B0502040204020203" pitchFamily="34" charset="0"/>
                        </a:rPr>
                        <a:t> NL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ntelligent Narratives by </a:t>
                      </a:r>
                      <a:r>
                        <a:rPr lang="en-US" sz="600" dirty="0" err="1">
                          <a:solidFill>
                            <a:schemeClr val="tx1"/>
                          </a:solidFill>
                          <a:latin typeface="Segoe UI" panose="020B0502040204020203" pitchFamily="34" charset="0"/>
                          <a:cs typeface="Segoe UI" panose="020B0502040204020203" pitchFamily="34" charset="0"/>
                        </a:rPr>
                        <a:t>Arria</a:t>
                      </a:r>
                      <a:r>
                        <a:rPr lang="en-US" sz="600" dirty="0">
                          <a:solidFill>
                            <a:schemeClr val="tx1"/>
                          </a:solidFill>
                          <a:latin typeface="Segoe UI" panose="020B0502040204020203" pitchFamily="34" charset="0"/>
                          <a:cs typeface="Segoe UI" panose="020B0502040204020203" pitchFamily="34" charset="0"/>
                        </a:rPr>
                        <a:t> NL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Cognite</a:t>
                      </a:r>
                      <a:r>
                        <a:rPr lang="en-US" sz="600" dirty="0">
                          <a:solidFill>
                            <a:schemeClr val="tx1"/>
                          </a:solidFill>
                          <a:latin typeface="Segoe UI" panose="020B0502040204020203" pitchFamily="34" charset="0"/>
                          <a:cs typeface="Segoe UI" panose="020B0502040204020203" pitchFamily="34" charset="0"/>
                        </a:rPr>
                        <a:t> Update</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look for Embedded scenarios</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DirectQuery</a:t>
                      </a:r>
                      <a:r>
                        <a:rPr lang="en-US" sz="600" dirty="0">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Anomaly detection now in ribbon</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Enhanced dataset metadata format</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Graphomate</a:t>
                      </a:r>
                      <a:r>
                        <a:rPr lang="en-US" sz="600" dirty="0">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ParaTaskCard</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ontrol Chart </a:t>
                      </a:r>
                      <a:r>
                        <a:rPr lang="en-US" sz="600" dirty="0" err="1">
                          <a:solidFill>
                            <a:schemeClr val="tx1"/>
                          </a:solidFill>
                          <a:latin typeface="Segoe UI" panose="020B0502040204020203" pitchFamily="34" charset="0"/>
                          <a:cs typeface="Segoe UI" panose="020B0502040204020203" pitchFamily="34" charset="0"/>
                        </a:rPr>
                        <a:t>XmR</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ParaHTMLViewer</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ValQ</a:t>
                      </a:r>
                      <a:r>
                        <a:rPr lang="en-US" sz="600" dirty="0">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rill Down Combo PRO by </a:t>
                      </a:r>
                      <a:r>
                        <a:rPr lang="en-US" sz="600" dirty="0" err="1">
                          <a:solidFill>
                            <a:schemeClr val="tx1"/>
                          </a:solidFill>
                          <a:latin typeface="Segoe UI" panose="020B0502040204020203" pitchFamily="34" charset="0"/>
                          <a:cs typeface="Segoe UI" panose="020B0502040204020203" pitchFamily="34" charset="0"/>
                        </a:rPr>
                        <a:t>ZoomCharts</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evelopers</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DirectQuery</a:t>
                      </a:r>
                      <a:r>
                        <a:rPr lang="en-US" sz="500" dirty="0">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pt-BR" sz="500" dirty="0">
                          <a:solidFill>
                            <a:schemeClr val="tx1"/>
                          </a:solidFill>
                          <a:latin typeface="Segoe UI" panose="020B0502040204020203" pitchFamily="34" charset="0"/>
                          <a:cs typeface="Segoe UI" panose="020B0502040204020203" pitchFamily="34" charset="0"/>
                        </a:rPr>
                        <a:t>X axis constant line for line charts</a:t>
                      </a:r>
                    </a:p>
                    <a:p>
                      <a:pPr defTabSz="950661">
                        <a:spcBef>
                          <a:spcPts val="612"/>
                        </a:spcBef>
                        <a:spcAft>
                          <a:spcPts val="102"/>
                        </a:spcAft>
                        <a:defRPr/>
                      </a:pPr>
                      <a:r>
                        <a:rPr lang="en-US" sz="600" b="1" cap="all" dirty="0">
                          <a:solidFill>
                            <a:schemeClr val="tx1"/>
                          </a:solidFill>
                          <a:latin typeface="+mn-lt"/>
                        </a:rPr>
                        <a:t>MODEL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600" b="1" cap="all" dirty="0">
                          <a:solidFill>
                            <a:schemeClr val="tx1"/>
                          </a:solidFill>
                          <a:latin typeface="+mn-lt"/>
                        </a:rPr>
                        <a:t>SERVIC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Facebook Ads Overview Report – by Windsor.ai</a:t>
                      </a:r>
                    </a:p>
                    <a:p>
                      <a:pPr marL="0" lvl="1" defTabSz="950661">
                        <a:spcBef>
                          <a:spcPts val="612"/>
                        </a:spcBef>
                        <a:spcAft>
                          <a:spcPts val="102"/>
                        </a:spcAft>
                        <a:defRPr/>
                      </a:pPr>
                      <a:r>
                        <a:rPr lang="en-US" sz="600" b="1" cap="all" dirty="0">
                          <a:solidFill>
                            <a:schemeClr val="tx1"/>
                          </a:solidFill>
                          <a:latin typeface="+mn-lt"/>
                        </a:rPr>
                        <a:t>EMBEDDED</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esktop change log</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CA" sz="600" dirty="0" err="1">
                          <a:solidFill>
                            <a:schemeClr val="tx1"/>
                          </a:solidFill>
                          <a:latin typeface="Segoe UI" panose="020B0502040204020203" pitchFamily="34" charset="0"/>
                          <a:cs typeface="Segoe UI" panose="020B0502040204020203" pitchFamily="34" charset="0"/>
                        </a:rPr>
                        <a:t>DirectQuery</a:t>
                      </a:r>
                      <a:r>
                        <a:rPr lang="en-CA" sz="600" dirty="0">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Connector: </a:t>
                      </a:r>
                      <a:r>
                        <a:rPr lang="en-CA" sz="600" dirty="0" err="1">
                          <a:solidFill>
                            <a:schemeClr val="tx1"/>
                          </a:solidFill>
                          <a:latin typeface="Segoe UI" panose="020B0502040204020203" pitchFamily="34" charset="0"/>
                          <a:cs typeface="Segoe UI" panose="020B0502040204020203" pitchFamily="34" charset="0"/>
                        </a:rPr>
                        <a:t>SoftOne</a:t>
                      </a:r>
                      <a:r>
                        <a:rPr lang="en-CA" sz="600" dirty="0">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Microsoft </a:t>
                      </a:r>
                      <a:r>
                        <a:rPr lang="en-CA" sz="600" dirty="0" err="1">
                          <a:solidFill>
                            <a:schemeClr val="tx1"/>
                          </a:solidFill>
                          <a:latin typeface="Segoe UI" panose="020B0502040204020203" pitchFamily="34" charset="0"/>
                          <a:cs typeface="Segoe UI" panose="020B0502040204020203" pitchFamily="34" charset="0"/>
                        </a:rPr>
                        <a:t>Charticulator</a:t>
                      </a:r>
                      <a:r>
                        <a:rPr lang="en-CA" sz="600" dirty="0">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Financial Reporting Matrix by </a:t>
                      </a:r>
                      <a:r>
                        <a:rPr lang="en-CA" sz="600" dirty="0" err="1">
                          <a:solidFill>
                            <a:schemeClr val="tx1"/>
                          </a:solidFill>
                          <a:latin typeface="Segoe UI" panose="020B0502040204020203" pitchFamily="34" charset="0"/>
                          <a:cs typeface="Segoe UI" panose="020B0502040204020203" pitchFamily="34" charset="0"/>
                        </a:rPr>
                        <a:t>Profitbase</a:t>
                      </a:r>
                      <a:endParaRPr lang="en-CA"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600" b="1" cap="all" dirty="0">
                          <a:solidFill>
                            <a:schemeClr val="tx1"/>
                          </a:solidFill>
                          <a:latin typeface="+mn-lt"/>
                        </a:rPr>
                        <a:t>Developer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600" b="1" cap="all" dirty="0">
                          <a:solidFill>
                            <a:schemeClr val="tx1"/>
                          </a:solidFill>
                          <a:latin typeface="+mn-lt"/>
                        </a:rPr>
                        <a:t>Other</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Simplifying collection of diagnostic information</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600" b="1" cap="all" dirty="0">
                          <a:solidFill>
                            <a:schemeClr val="tx1"/>
                          </a:solidFill>
                          <a:latin typeface="+mn-lt"/>
                        </a:rPr>
                        <a:t>Analytic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Q&amp;A now supports </a:t>
                      </a:r>
                      <a:r>
                        <a:rPr lang="en-CA" sz="500" dirty="0" err="1">
                          <a:solidFill>
                            <a:schemeClr val="tx1"/>
                          </a:solidFill>
                          <a:latin typeface="Segoe UI" panose="020B0502040204020203" pitchFamily="34" charset="0"/>
                          <a:cs typeface="Segoe UI" panose="020B0502040204020203" pitchFamily="34" charset="0"/>
                        </a:rPr>
                        <a:t>DirectQuery</a:t>
                      </a:r>
                      <a:r>
                        <a:rPr lang="en-CA" sz="500" dirty="0">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DirectQuery</a:t>
                      </a:r>
                      <a:r>
                        <a:rPr lang="en-CA" sz="500" dirty="0">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a:t>
                      </a:r>
                      <a:r>
                        <a:rPr lang="en-CA" sz="500" dirty="0" err="1">
                          <a:solidFill>
                            <a:schemeClr val="tx1"/>
                          </a:solidFill>
                          <a:latin typeface="Segoe UI" panose="020B0502040204020203" pitchFamily="34" charset="0"/>
                          <a:cs typeface="Segoe UI" panose="020B0502040204020203" pitchFamily="34" charset="0"/>
                        </a:rPr>
                        <a:t>EQuI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600" b="1" cap="all" dirty="0">
                          <a:solidFill>
                            <a:schemeClr val="tx1"/>
                          </a:solidFill>
                          <a:latin typeface="+mn-lt"/>
                        </a:rPr>
                        <a:t>Mobi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Donut PRO by </a:t>
                      </a:r>
                      <a:r>
                        <a:rPr lang="en-CA" sz="500" dirty="0" err="1">
                          <a:solidFill>
                            <a:schemeClr val="tx1"/>
                          </a:solidFill>
                          <a:latin typeface="Segoe UI" panose="020B0502040204020203" pitchFamily="34" charset="0"/>
                          <a:cs typeface="Segoe UI" panose="020B0502040204020203" pitchFamily="34" charset="0"/>
                        </a:rPr>
                        <a:t>ZoomChart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Map PRO by </a:t>
                      </a:r>
                      <a:r>
                        <a:rPr lang="en-CA" sz="500" dirty="0" err="1">
                          <a:solidFill>
                            <a:schemeClr val="tx1"/>
                          </a:solidFill>
                          <a:latin typeface="Segoe UI" panose="020B0502040204020203" pitchFamily="34" charset="0"/>
                          <a:cs typeface="Segoe UI" panose="020B0502040204020203" pitchFamily="34" charset="0"/>
                        </a:rPr>
                        <a:t>ZoomChart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Pie PRO by </a:t>
                      </a:r>
                      <a:r>
                        <a:rPr lang="en-CA" sz="500" dirty="0" err="1">
                          <a:solidFill>
                            <a:schemeClr val="tx1"/>
                          </a:solidFill>
                          <a:latin typeface="Segoe UI" panose="020B0502040204020203" pitchFamily="34" charset="0"/>
                          <a:cs typeface="Segoe UI" panose="020B0502040204020203" pitchFamily="34" charset="0"/>
                        </a:rPr>
                        <a:t>ZoomChart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graphomate</a:t>
                      </a:r>
                      <a:r>
                        <a:rPr lang="en-CA" sz="500" dirty="0">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graphomate</a:t>
                      </a:r>
                      <a:r>
                        <a:rPr lang="en-CA" sz="500" dirty="0">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600" b="1" cap="all" dirty="0">
                          <a:solidFill>
                            <a:schemeClr val="tx1"/>
                          </a:solidFill>
                          <a:latin typeface="+mn-lt"/>
                        </a:rPr>
                        <a:t>Template app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600" b="1" cap="all" dirty="0">
                          <a:solidFill>
                            <a:schemeClr val="tx1"/>
                          </a:solidFill>
                          <a:latin typeface="+mn-lt"/>
                        </a:rPr>
                        <a:t>Developer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600" b="1" cap="all" dirty="0">
                          <a:solidFill>
                            <a:schemeClr val="tx1"/>
                          </a:solidFill>
                          <a:latin typeface="+mn-lt"/>
                        </a:rPr>
                        <a:t>Other</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hare and Collaborate in Excel for the web connected to Power BI</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Analytic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Q&amp;A improvement for inferred results</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Format strings now persisted when using </a:t>
                      </a:r>
                      <a:r>
                        <a:rPr lang="en-US" sz="500" dirty="0" err="1">
                          <a:solidFill>
                            <a:schemeClr val="tx1"/>
                          </a:solidFill>
                          <a:latin typeface="Segoe UI" panose="020B0502040204020203" pitchFamily="34" charset="0"/>
                          <a:cs typeface="Segoe UI" panose="020B0502040204020203" pitchFamily="34" charset="0"/>
                        </a:rPr>
                        <a:t>DirectQuery</a:t>
                      </a:r>
                      <a:r>
                        <a:rPr lang="en-US" sz="500" dirty="0">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600" b="1" cap="all" dirty="0">
                          <a:solidFill>
                            <a:schemeClr val="tx1"/>
                          </a:solidFill>
                          <a:latin typeface="+mn-lt"/>
                        </a:rPr>
                        <a:t>Data PREPARATION</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DirectQuery</a:t>
                      </a:r>
                      <a:r>
                        <a:rPr lang="en-US" sz="500" dirty="0">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Cognite</a:t>
                      </a:r>
                      <a:r>
                        <a:rPr lang="en-CA" sz="500" dirty="0">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Google </a:t>
                      </a:r>
                      <a:r>
                        <a:rPr lang="en-CA" sz="500" dirty="0" err="1">
                          <a:solidFill>
                            <a:schemeClr val="tx1"/>
                          </a:solidFill>
                          <a:latin typeface="Segoe UI" panose="020B0502040204020203" pitchFamily="34" charset="0"/>
                          <a:cs typeface="Segoe UI" panose="020B0502040204020203" pitchFamily="34" charset="0"/>
                        </a:rPr>
                        <a:t>BigQuery</a:t>
                      </a:r>
                      <a:r>
                        <a:rPr lang="en-CA" sz="500" dirty="0">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600" b="1" cap="all" dirty="0">
                          <a:solidFill>
                            <a:schemeClr val="tx1"/>
                          </a:solidFill>
                          <a:latin typeface="+mn-lt"/>
                        </a:rPr>
                        <a:t>Mobi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assing URL parameters to paginated reports</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Combo Bar PRO by </a:t>
                      </a:r>
                      <a:r>
                        <a:rPr lang="en-CA" sz="500" dirty="0" err="1">
                          <a:solidFill>
                            <a:schemeClr val="tx1"/>
                          </a:solidFill>
                          <a:latin typeface="Segoe UI" panose="020B0502040204020203" pitchFamily="34" charset="0"/>
                          <a:cs typeface="Segoe UI" panose="020B0502040204020203" pitchFamily="34" charset="0"/>
                        </a:rPr>
                        <a:t>ZoomChart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graphomate</a:t>
                      </a:r>
                      <a:r>
                        <a:rPr lang="en-CA" sz="500" dirty="0">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alesforce Analytics for Sales Managers</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DirectQuery</a:t>
                      </a:r>
                      <a:r>
                        <a:rPr lang="en-US" sz="500" dirty="0">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Dremio</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Charticulator</a:t>
                      </a:r>
                      <a:r>
                        <a:rPr lang="en-CA" sz="500" dirty="0">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Acterys</a:t>
                      </a:r>
                      <a:r>
                        <a:rPr lang="en-CA" sz="500" dirty="0">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PureViz</a:t>
                      </a:r>
                      <a:r>
                        <a:rPr lang="en-CA" sz="500" dirty="0">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trol Chart </a:t>
                      </a:r>
                      <a:r>
                        <a:rPr lang="en-CA" sz="500" dirty="0" err="1">
                          <a:solidFill>
                            <a:schemeClr val="tx1"/>
                          </a:solidFill>
                          <a:latin typeface="Segoe UI" panose="020B0502040204020203" pitchFamily="34" charset="0"/>
                          <a:cs typeface="Segoe UI" panose="020B0502040204020203" pitchFamily="34" charset="0"/>
                        </a:rPr>
                        <a:t>XmR</a:t>
                      </a:r>
                      <a:r>
                        <a:rPr lang="en-CA" sz="500" dirty="0">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nalyze your email marketing performance using Mailchimp and </a:t>
                      </a:r>
                      <a:r>
                        <a:rPr lang="en-US" sz="500" dirty="0" err="1">
                          <a:solidFill>
                            <a:schemeClr val="tx1"/>
                          </a:solidFill>
                          <a:latin typeface="Segoe UI" panose="020B0502040204020203" pitchFamily="34" charset="0"/>
                          <a:cs typeface="Segoe UI" panose="020B0502040204020203" pitchFamily="34" charset="0"/>
                        </a:rPr>
                        <a:t>ActiveCampaign</a:t>
                      </a:r>
                      <a:r>
                        <a:rPr lang="en-CA" sz="500" dirty="0">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600" b="1" cap="all" dirty="0">
                          <a:solidFill>
                            <a:schemeClr val="tx1"/>
                          </a:solidFill>
                          <a:latin typeface="+mn-lt"/>
                        </a:rPr>
                        <a:t>Other</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On-premises data gateway update</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600" b="1" cap="all" dirty="0">
                          <a:solidFill>
                            <a:schemeClr val="tx1"/>
                          </a:solidFill>
                          <a:latin typeface="+mn-lt"/>
                        </a:rPr>
                        <a:t>Analytic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way of expressing Date and </a:t>
                      </a:r>
                      <a:r>
                        <a:rPr lang="en-US" sz="500" dirty="0" err="1">
                          <a:solidFill>
                            <a:schemeClr val="tx1"/>
                          </a:solidFill>
                          <a:latin typeface="Segoe UI" panose="020B0502040204020203" pitchFamily="34" charset="0"/>
                          <a:cs typeface="Segoe UI" panose="020B0502040204020203" pitchFamily="34" charset="0"/>
                        </a:rPr>
                        <a:t>DateTime</a:t>
                      </a:r>
                      <a:r>
                        <a:rPr lang="en-US" sz="500" dirty="0">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600" b="1" cap="all" dirty="0">
                          <a:solidFill>
                            <a:schemeClr val="tx1"/>
                          </a:solidFill>
                          <a:latin typeface="+mn-lt"/>
                        </a:rPr>
                        <a:t>Data connectivity &amp; PREPARATION</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a:t>
                      </a:r>
                      <a:r>
                        <a:rPr lang="en-CA" sz="500" dirty="0" err="1">
                          <a:solidFill>
                            <a:schemeClr val="tx1"/>
                          </a:solidFill>
                          <a:latin typeface="Segoe UI" panose="020B0502040204020203" pitchFamily="34" charset="0"/>
                          <a:cs typeface="Segoe UI" panose="020B0502040204020203" pitchFamily="34" charset="0"/>
                        </a:rPr>
                        <a:t>Automy</a:t>
                      </a:r>
                      <a:r>
                        <a:rPr lang="en-CA" sz="500" dirty="0">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Dremio</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Google </a:t>
                      </a:r>
                      <a:r>
                        <a:rPr lang="en-CA" sz="500" dirty="0" err="1">
                          <a:solidFill>
                            <a:schemeClr val="tx1"/>
                          </a:solidFill>
                          <a:latin typeface="Segoe UI" panose="020B0502040204020203" pitchFamily="34" charset="0"/>
                          <a:cs typeface="Segoe UI" panose="020B0502040204020203" pitchFamily="34" charset="0"/>
                        </a:rPr>
                        <a:t>BigQuery</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Quickbase</a:t>
                      </a: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Leverage automatic aggregations to enhance performance over </a:t>
                      </a:r>
                      <a:r>
                        <a:rPr lang="en-CA" sz="500" dirty="0" err="1">
                          <a:solidFill>
                            <a:schemeClr val="tx1"/>
                          </a:solidFill>
                          <a:latin typeface="Segoe UI" panose="020B0502040204020203" pitchFamily="34" charset="0"/>
                          <a:cs typeface="Segoe UI" panose="020B0502040204020203" pitchFamily="34" charset="0"/>
                        </a:rPr>
                        <a:t>DirectQuery</a:t>
                      </a:r>
                      <a:r>
                        <a:rPr lang="en-CA" sz="500" dirty="0">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600" b="1" cap="all" dirty="0">
                          <a:solidFill>
                            <a:schemeClr val="tx1"/>
                          </a:solidFill>
                          <a:latin typeface="+mn-lt"/>
                        </a:rPr>
                        <a:t>Mobi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imeline by </a:t>
                      </a:r>
                      <a:r>
                        <a:rPr lang="en-US" sz="500" dirty="0" err="1">
                          <a:solidFill>
                            <a:schemeClr val="tx1"/>
                          </a:solidFill>
                          <a:latin typeface="Segoe UI" panose="020B0502040204020203" pitchFamily="34" charset="0"/>
                          <a:cs typeface="Segoe UI" panose="020B0502040204020203" pitchFamily="34" charset="0"/>
                        </a:rPr>
                        <a:t>Queryon</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rill Down Graph PRO by </a:t>
                      </a:r>
                      <a:r>
                        <a:rPr lang="en-US" sz="500" dirty="0" err="1">
                          <a:solidFill>
                            <a:schemeClr val="tx1"/>
                          </a:solidFill>
                          <a:latin typeface="Segoe UI" panose="020B0502040204020203" pitchFamily="34" charset="0"/>
                          <a:cs typeface="Segoe UI" panose="020B0502040204020203" pitchFamily="34" charset="0"/>
                        </a:rPr>
                        <a:t>ZoomCharts</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BIpm</a:t>
                      </a:r>
                      <a:r>
                        <a:rPr lang="en-US" sz="500" dirty="0">
                          <a:solidFill>
                            <a:schemeClr val="tx1"/>
                          </a:solidFill>
                          <a:latin typeface="Segoe UI" panose="020B0502040204020203" pitchFamily="34" charset="0"/>
                          <a:cs typeface="Segoe UI" panose="020B0502040204020203" pitchFamily="34" charset="0"/>
                        </a:rPr>
                        <a:t> custom visual by </a:t>
                      </a:r>
                      <a:r>
                        <a:rPr lang="en-US" sz="500" dirty="0" err="1">
                          <a:solidFill>
                            <a:schemeClr val="tx1"/>
                          </a:solidFill>
                          <a:latin typeface="Segoe UI" panose="020B0502040204020203" pitchFamily="34" charset="0"/>
                          <a:cs typeface="Segoe UI" panose="020B0502040204020203" pitchFamily="34" charset="0"/>
                        </a:rPr>
                        <a:t>ProcessM</a:t>
                      </a:r>
                      <a:endParaRPr lang="en-US"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Developer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REST API support for DAX queries preview</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600" b="1" cap="all" dirty="0">
                          <a:solidFill>
                            <a:schemeClr val="tx1"/>
                          </a:solidFill>
                          <a:latin typeface="+mn-lt"/>
                        </a:rPr>
                        <a:t>Analytic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600" b="1" cap="all" dirty="0">
                          <a:solidFill>
                            <a:schemeClr val="tx1"/>
                          </a:solidFill>
                          <a:latin typeface="+mn-lt"/>
                        </a:rPr>
                        <a:t>Data connectivity &amp; PREPARATION</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AssembleView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Exasol</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Mobi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PAFnow</a:t>
                      </a:r>
                      <a:r>
                        <a:rPr lang="en-US" sz="500" dirty="0">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rill Down Network PRO by </a:t>
                      </a:r>
                      <a:r>
                        <a:rPr lang="en-US" sz="500" dirty="0" err="1">
                          <a:solidFill>
                            <a:schemeClr val="tx1"/>
                          </a:solidFill>
                          <a:latin typeface="Segoe UI" panose="020B0502040204020203" pitchFamily="34" charset="0"/>
                          <a:cs typeface="Segoe UI" panose="020B0502040204020203" pitchFamily="34" charset="0"/>
                        </a:rPr>
                        <a:t>ZoomCharts</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nnotated Bar by </a:t>
                      </a:r>
                      <a:r>
                        <a:rPr lang="en-US" sz="500" dirty="0" err="1">
                          <a:solidFill>
                            <a:schemeClr val="tx1"/>
                          </a:solidFill>
                          <a:latin typeface="Segoe UI" panose="020B0502040204020203" pitchFamily="34" charset="0"/>
                          <a:cs typeface="Segoe UI" panose="020B0502040204020203" pitchFamily="34" charset="0"/>
                        </a:rPr>
                        <a:t>Queryon</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Graphomate</a:t>
                      </a:r>
                      <a:r>
                        <a:rPr lang="en-US" sz="500" dirty="0">
                          <a:solidFill>
                            <a:schemeClr val="tx1"/>
                          </a:solidFill>
                          <a:latin typeface="Segoe UI" panose="020B0502040204020203" pitchFamily="34" charset="0"/>
                          <a:cs typeface="Segoe UI" panose="020B0502040204020203" pitchFamily="34" charset="0"/>
                        </a:rPr>
                        <a:t> pictograms 2021.2 by </a:t>
                      </a:r>
                      <a:r>
                        <a:rPr lang="en-US" sz="500" dirty="0" err="1">
                          <a:solidFill>
                            <a:schemeClr val="tx1"/>
                          </a:solidFill>
                          <a:latin typeface="Segoe UI" panose="020B0502040204020203" pitchFamily="34" charset="0"/>
                          <a:cs typeface="Segoe UI" panose="020B0502040204020203" pitchFamily="34" charset="0"/>
                        </a:rPr>
                        <a:t>Graphomate</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visuals in AppSource</a:t>
                      </a:r>
                      <a:r>
                        <a:rPr lang="en-CA" sz="500" dirty="0">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600" b="1" cap="all" dirty="0">
                          <a:solidFill>
                            <a:schemeClr val="tx1"/>
                          </a:solidFill>
                          <a:latin typeface="+mn-lt"/>
                        </a:rPr>
                        <a:t>PAGINATED REPORT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version of Power BI Report Builder</a:t>
                      </a:r>
                      <a:endParaRPr lang="en-CA" sz="500" dirty="0">
                        <a:solidFill>
                          <a:schemeClr val="tx1"/>
                        </a:solidFill>
                        <a:latin typeface="Segoe UI" panose="020B0502040204020203" pitchFamily="34" charset="0"/>
                        <a:cs typeface="Segoe UI" panose="020B0502040204020203" pitchFamily="34" charset="0"/>
                      </a:endParaRPr>
                    </a:p>
                    <a:p>
                      <a:pPr algn="l"/>
                      <a:endParaRPr lang="en-US" sz="1200" dirty="0">
                        <a:latin typeface="+mj-lt"/>
                      </a:endParaRPr>
                    </a:p>
                  </a:txBody>
                  <a:tcPr/>
                </a:tc>
                <a:tc>
                  <a:txBody>
                    <a:bodyPr/>
                    <a:lstStyle/>
                    <a:p>
                      <a:pPr algn="l"/>
                      <a:endParaRPr lang="en-US" sz="1200" dirty="0">
                        <a:latin typeface="+mj-lt"/>
                      </a:endParaRPr>
                    </a:p>
                  </a:txBody>
                  <a:tcPr/>
                </a:tc>
                <a:extLst>
                  <a:ext uri="{0D108BD9-81ED-4DB2-BD59-A6C34878D82A}">
                    <a16:rowId xmlns:a16="http://schemas.microsoft.com/office/drawing/2014/main" val="3800657619"/>
                  </a:ext>
                </a:extLst>
              </a:tr>
            </a:tbl>
          </a:graphicData>
        </a:graphic>
      </p:graphicFrame>
    </p:spTree>
    <p:extLst>
      <p:ext uri="{BB962C8B-B14F-4D97-AF65-F5344CB8AC3E}">
        <p14:creationId xmlns:p14="http://schemas.microsoft.com/office/powerpoint/2010/main" val="199409446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43457E-6 -4.73445E-6 L -2.39295 -0.01475 " pathEditMode="fixed" rAng="0" ptsTypes="AA">
                                      <p:cBhvr>
                                        <p:cTn id="6" dur="30000" fill="hold"/>
                                        <p:tgtEl>
                                          <p:spTgt spid="3"/>
                                        </p:tgtEl>
                                        <p:attrNameLst>
                                          <p:attrName>ppt_x</p:attrName>
                                          <p:attrName>ppt_y</p:attrName>
                                        </p:attrNameLst>
                                      </p:cBhvr>
                                      <p:rCtr x="-119648" y="-7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spTree>
    <p:extLst>
      <p:ext uri="{BB962C8B-B14F-4D97-AF65-F5344CB8AC3E}">
        <p14:creationId xmlns:p14="http://schemas.microsoft.com/office/powerpoint/2010/main" val="69780420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dirty="0">
                <a:solidFill>
                  <a:srgbClr val="FFC000"/>
                </a:solidFill>
              </a:rPr>
              <a:t>Enterprise Architectur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391407" y="3646594"/>
              <a:ext cx="1217341" cy="1055193"/>
              <a:chOff x="2640379" y="3694405"/>
              <a:chExt cx="1336554" cy="11585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640379" y="3694405"/>
                <a:ext cx="399710" cy="362510"/>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dirty="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dirty="0"/>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dirty="0">
                <a:solidFill>
                  <a:srgbClr val="000000"/>
                </a:solidFill>
                <a:latin typeface="Segoe UI" panose="020B0502040204020203" pitchFamily="34" charset="0"/>
              </a:rPr>
              <a:t>Composite models</a:t>
            </a:r>
          </a:p>
          <a:p>
            <a:pPr lvl="0"/>
            <a:r>
              <a:rPr lang="en-US" dirty="0">
                <a:solidFill>
                  <a:srgbClr val="000000"/>
                </a:solidFill>
                <a:latin typeface="Segoe UI" panose="020B0502040204020203" pitchFamily="34" charset="0"/>
              </a:rPr>
              <a:t>Shared datasets</a:t>
            </a:r>
          </a:p>
          <a:p>
            <a:r>
              <a:rPr lang="en-US" dirty="0">
                <a:solidFill>
                  <a:srgbClr val="000000"/>
                </a:solidFill>
                <a:latin typeface="Segoe UI" panose="020B0502040204020203" pitchFamily="34" charset="0"/>
              </a:rPr>
              <a:t>Linked tables</a:t>
            </a:r>
          </a:p>
          <a:p>
            <a:r>
              <a:rPr lang="en-US" dirty="0">
                <a:solidFill>
                  <a:srgbClr val="000000"/>
                </a:solidFill>
                <a:latin typeface="Segoe UI" panose="020B0502040204020203" pitchFamily="34" charset="0"/>
              </a:rPr>
              <a:t>Office integrations</a:t>
            </a:r>
          </a:p>
          <a:p>
            <a:r>
              <a:rPr lang="en-US" dirty="0">
                <a:solidFill>
                  <a:srgbClr val="000000"/>
                </a:solidFill>
                <a:latin typeface="Segoe UI" panose="020B0502040204020203" pitchFamily="34" charset="0"/>
              </a:rPr>
              <a:t>Azure integrations</a:t>
            </a:r>
          </a:p>
          <a:p>
            <a:r>
              <a:rPr lang="en-US" dirty="0">
                <a:solidFill>
                  <a:srgbClr val="000000"/>
                </a:solidFill>
                <a:latin typeface="Segoe UI" panose="020B0502040204020203" pitchFamily="34" charset="0"/>
              </a:rPr>
              <a:t>Dynamics integrations</a:t>
            </a:r>
          </a:p>
          <a:p>
            <a:r>
              <a:rPr lang="en-US" dirty="0">
                <a:solidFill>
                  <a:srgbClr val="000000"/>
                </a:solidFill>
                <a:latin typeface="Segoe UI" panose="020B0502040204020203" pitchFamily="34" charset="0"/>
              </a:rPr>
              <a:t>  ...</a:t>
            </a:r>
          </a:p>
        </p:txBody>
      </p:sp>
      <p:pic>
        <p:nvPicPr>
          <p:cNvPr id="26" name="Picture 25" descr="A picture containing shape&#10;&#10;Description automatically generated">
            <a:extLst>
              <a:ext uri="{FF2B5EF4-FFF2-40B4-BE49-F238E27FC236}">
                <a16:creationId xmlns:a16="http://schemas.microsoft.com/office/drawing/2014/main" id="{57888D25-86BF-1FB9-65BC-A536E03AAF6B}"/>
              </a:ext>
            </a:extLst>
          </p:cNvPr>
          <p:cNvPicPr>
            <a:picLocks noChangeAspect="1"/>
          </p:cNvPicPr>
          <p:nvPr/>
        </p:nvPicPr>
        <p:blipFill rotWithShape="1">
          <a:blip r:embed="rId9"/>
          <a:srcRect l="29299" t="-1" r="-1" b="26481"/>
          <a:stretch/>
        </p:blipFill>
        <p:spPr>
          <a:xfrm rot="5400000">
            <a:off x="4928172" y="3284715"/>
            <a:ext cx="619426" cy="816815"/>
          </a:xfrm>
          <a:prstGeom prst="rect">
            <a:avLst/>
          </a:prstGeom>
        </p:spPr>
      </p:pic>
      <p:pic>
        <p:nvPicPr>
          <p:cNvPr id="53" name="Picture 52" descr="A picture containing shape&#10;&#10;Description automatically generated">
            <a:extLst>
              <a:ext uri="{FF2B5EF4-FFF2-40B4-BE49-F238E27FC236}">
                <a16:creationId xmlns:a16="http://schemas.microsoft.com/office/drawing/2014/main" id="{8565F088-CC5F-DFB5-32AE-26EC3339D28C}"/>
              </a:ext>
            </a:extLst>
          </p:cNvPr>
          <p:cNvPicPr>
            <a:picLocks noChangeAspect="1"/>
          </p:cNvPicPr>
          <p:nvPr/>
        </p:nvPicPr>
        <p:blipFill rotWithShape="1">
          <a:blip r:embed="rId9"/>
          <a:srcRect l="29299" t="-1" r="-1" b="55308"/>
          <a:stretch/>
        </p:blipFill>
        <p:spPr>
          <a:xfrm rot="16200000" flipH="1">
            <a:off x="3392941" y="3778880"/>
            <a:ext cx="619426" cy="463117"/>
          </a:xfrm>
          <a:prstGeom prst="rect">
            <a:avLst/>
          </a:prstGeom>
        </p:spPr>
      </p:pic>
      <p:pic>
        <p:nvPicPr>
          <p:cNvPr id="31" name="Graphic 30">
            <a:extLst>
              <a:ext uri="{FF2B5EF4-FFF2-40B4-BE49-F238E27FC236}">
                <a16:creationId xmlns:a16="http://schemas.microsoft.com/office/drawing/2014/main" id="{0719BB6D-48EC-1033-4908-7C7D8ECA38A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67507" y="3069032"/>
            <a:ext cx="972913" cy="810761"/>
          </a:xfrm>
          <a:prstGeom prst="rect">
            <a:avLst/>
          </a:prstGeom>
        </p:spPr>
      </p:pic>
      <p:sp>
        <p:nvSpPr>
          <p:cNvPr id="36" name="TextBox 35">
            <a:extLst>
              <a:ext uri="{FF2B5EF4-FFF2-40B4-BE49-F238E27FC236}">
                <a16:creationId xmlns:a16="http://schemas.microsoft.com/office/drawing/2014/main" id="{C8F5599B-785E-4D66-4E43-842D79084B77}"/>
              </a:ext>
            </a:extLst>
          </p:cNvPr>
          <p:cNvSpPr txBox="1"/>
          <p:nvPr/>
        </p:nvSpPr>
        <p:spPr>
          <a:xfrm>
            <a:off x="4088921" y="3930613"/>
            <a:ext cx="1159001" cy="184515"/>
          </a:xfrm>
          <a:prstGeom prst="rect">
            <a:avLst/>
          </a:prstGeom>
          <a:noFill/>
        </p:spPr>
        <p:txBody>
          <a:bodyPr wrap="square" lIns="0" tIns="0" rIns="0" bIns="0" rtlCol="0">
            <a:spAutoFit/>
          </a:bodyPr>
          <a:lstStyle/>
          <a:p>
            <a:r>
              <a:rPr lang="en-US" sz="1199" b="1" dirty="0"/>
              <a:t>Datamart</a:t>
            </a:r>
          </a:p>
        </p:txBody>
      </p:sp>
      <p:pic>
        <p:nvPicPr>
          <p:cNvPr id="48" name="Picture 2" descr="Icon&#10;&#10;Description automatically generated">
            <a:extLst>
              <a:ext uri="{FF2B5EF4-FFF2-40B4-BE49-F238E27FC236}">
                <a16:creationId xmlns:a16="http://schemas.microsoft.com/office/drawing/2014/main" id="{2AB9B250-4B78-DCF8-A4BC-2C6A24A73E8C}"/>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3436526" y="4390523"/>
            <a:ext cx="735981" cy="551089"/>
          </a:xfrm>
          <a:prstGeom prst="rect">
            <a:avLst/>
          </a:prstGeom>
          <a:noFill/>
        </p:spPr>
      </p:pic>
      <p:pic>
        <p:nvPicPr>
          <p:cNvPr id="64" name="Picture 63" descr="A picture containing shape&#10;&#10;Description automatically generated">
            <a:extLst>
              <a:ext uri="{FF2B5EF4-FFF2-40B4-BE49-F238E27FC236}">
                <a16:creationId xmlns:a16="http://schemas.microsoft.com/office/drawing/2014/main" id="{B153BEF5-B2C2-7032-9213-EF1F0E1452B0}"/>
              </a:ext>
            </a:extLst>
          </p:cNvPr>
          <p:cNvPicPr>
            <a:picLocks noChangeAspect="1"/>
          </p:cNvPicPr>
          <p:nvPr/>
        </p:nvPicPr>
        <p:blipFill rotWithShape="1">
          <a:blip r:embed="rId9"/>
          <a:srcRect l="29299" t="-1" r="-1" b="39433"/>
          <a:stretch/>
        </p:blipFill>
        <p:spPr>
          <a:xfrm rot="10800000" flipV="1">
            <a:off x="3934427" y="4785633"/>
            <a:ext cx="619426" cy="672915"/>
          </a:xfrm>
          <a:prstGeom prst="rect">
            <a:avLst/>
          </a:prstGeom>
        </p:spPr>
      </p:pic>
      <p:sp>
        <p:nvSpPr>
          <p:cNvPr id="67" name="TextBox 66">
            <a:extLst>
              <a:ext uri="{FF2B5EF4-FFF2-40B4-BE49-F238E27FC236}">
                <a16:creationId xmlns:a16="http://schemas.microsoft.com/office/drawing/2014/main" id="{B8D7F6F7-4B4A-A599-3291-941EC7E92545}"/>
              </a:ext>
            </a:extLst>
          </p:cNvPr>
          <p:cNvSpPr txBox="1"/>
          <p:nvPr/>
        </p:nvSpPr>
        <p:spPr>
          <a:xfrm>
            <a:off x="3854422" y="4320179"/>
            <a:ext cx="1159001" cy="184515"/>
          </a:xfrm>
          <a:prstGeom prst="rect">
            <a:avLst/>
          </a:prstGeom>
          <a:noFill/>
        </p:spPr>
        <p:txBody>
          <a:bodyPr wrap="square" lIns="0" tIns="0" rIns="0" bIns="0" rtlCol="0">
            <a:spAutoFit/>
          </a:bodyPr>
          <a:lstStyle/>
          <a:p>
            <a:r>
              <a:rPr lang="en-US" sz="1199" b="1" dirty="0"/>
              <a:t>Dataset</a:t>
            </a:r>
          </a:p>
        </p:txBody>
      </p:sp>
      <p:pic>
        <p:nvPicPr>
          <p:cNvPr id="22" name="Graphic 21">
            <a:extLst>
              <a:ext uri="{FF2B5EF4-FFF2-40B4-BE49-F238E27FC236}">
                <a16:creationId xmlns:a16="http://schemas.microsoft.com/office/drawing/2014/main" id="{52836229-B82F-B4BB-951A-3F428D115AE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33820" y="3722507"/>
            <a:ext cx="620436" cy="709070"/>
          </a:xfrm>
          <a:prstGeom prst="rect">
            <a:avLst/>
          </a:prstGeom>
        </p:spPr>
      </p:pic>
    </p:spTree>
    <p:extLst>
      <p:ext uri="{BB962C8B-B14F-4D97-AF65-F5344CB8AC3E}">
        <p14:creationId xmlns:p14="http://schemas.microsoft.com/office/powerpoint/2010/main" val="182750447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dirty="0"/>
              <a:t>Creating intuitive and simple-to-navigate reports is important</a:t>
            </a:r>
          </a:p>
          <a:p>
            <a:r>
              <a:rPr lang="en-US" dirty="0"/>
              <a:t>Aim for “no training required” experience</a:t>
            </a:r>
          </a:p>
          <a:p>
            <a:r>
              <a:rPr lang="en-US" dirty="0"/>
              <a:t>Provide built-in assistance, e.g.</a:t>
            </a:r>
          </a:p>
          <a:p>
            <a:pPr lvl="1"/>
            <a:r>
              <a:rPr lang="en-US" dirty="0"/>
              <a:t>Information page (dedicated page with instructions)</a:t>
            </a:r>
          </a:p>
          <a:p>
            <a:pPr lvl="1"/>
            <a:r>
              <a:rPr lang="en-US" dirty="0"/>
              <a:t>Visual header tooltip icon (add descriptive text for a visual)</a:t>
            </a:r>
          </a:p>
          <a:p>
            <a:pPr lvl="1"/>
            <a:r>
              <a:rPr lang="en-US" dirty="0"/>
              <a:t>Button with overlay (image to explain navigation of report)</a:t>
            </a:r>
          </a:p>
          <a:p>
            <a:pPr marL="0" indent="0">
              <a:buNone/>
            </a:pPr>
            <a:endParaRPr lang="en-US" dirty="0"/>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004489"/>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887864"/>
            <a:ext cx="11149186" cy="1218795"/>
          </a:xfrm>
        </p:spPr>
        <p:txBody>
          <a:bodyPr/>
          <a:lstStyle/>
          <a:p>
            <a:pPr marL="0" indent="0" algn="ctr">
              <a:buNone/>
            </a:pPr>
            <a:r>
              <a:rPr lang="en-US" sz="3600" dirty="0"/>
              <a:t>Select visual type to communicate information </a:t>
            </a:r>
          </a:p>
          <a:p>
            <a:pPr marL="0" indent="0" algn="ctr">
              <a:buNone/>
            </a:pPr>
            <a:r>
              <a:rPr lang="en-US" sz="3600" b="1" dirty="0"/>
              <a:t>clearly</a:t>
            </a:r>
            <a:r>
              <a:rPr lang="en-US" sz="3600" dirty="0"/>
              <a:t> &amp; </a:t>
            </a:r>
            <a:r>
              <a:rPr lang="en-US" sz="3600" b="1" dirty="0"/>
              <a:t>effectively</a:t>
            </a:r>
          </a:p>
        </p:txBody>
      </p:sp>
    </p:spTree>
    <p:extLst>
      <p:ext uri="{BB962C8B-B14F-4D97-AF65-F5344CB8AC3E}">
        <p14:creationId xmlns:p14="http://schemas.microsoft.com/office/powerpoint/2010/main" val="67919107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5EFA519-AA7A-53F7-7D27-2878881B643E}"/>
              </a:ext>
            </a:extLst>
          </p:cNvPr>
          <p:cNvPicPr>
            <a:picLocks noChangeAspect="1"/>
          </p:cNvPicPr>
          <p:nvPr/>
        </p:nvPicPr>
        <p:blipFill>
          <a:blip r:embed="rId3"/>
          <a:stretch>
            <a:fillRect/>
          </a:stretch>
        </p:blipFill>
        <p:spPr>
          <a:xfrm>
            <a:off x="1205540" y="0"/>
            <a:ext cx="10023808" cy="6994525"/>
          </a:xfrm>
          <a:prstGeom prst="rect">
            <a:avLst/>
          </a:prstGeom>
        </p:spPr>
      </p:pic>
    </p:spTree>
    <p:extLst>
      <p:ext uri="{BB962C8B-B14F-4D97-AF65-F5344CB8AC3E}">
        <p14:creationId xmlns:p14="http://schemas.microsoft.com/office/powerpoint/2010/main" val="340103970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C90B26-493D-1115-715A-E559FC229611}"/>
              </a:ext>
            </a:extLst>
          </p:cNvPr>
          <p:cNvPicPr>
            <a:picLocks noChangeAspect="1"/>
          </p:cNvPicPr>
          <p:nvPr/>
        </p:nvPicPr>
        <p:blipFill>
          <a:blip r:embed="rId3"/>
          <a:stretch>
            <a:fillRect/>
          </a:stretch>
        </p:blipFill>
        <p:spPr>
          <a:xfrm>
            <a:off x="1249244" y="0"/>
            <a:ext cx="9936400" cy="6994525"/>
          </a:xfrm>
          <a:prstGeom prst="rect">
            <a:avLst/>
          </a:prstGeom>
        </p:spPr>
      </p:pic>
    </p:spTree>
    <p:extLst>
      <p:ext uri="{BB962C8B-B14F-4D97-AF65-F5344CB8AC3E}">
        <p14:creationId xmlns:p14="http://schemas.microsoft.com/office/powerpoint/2010/main" val="416942284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7.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dirty="0">
                  <a:solidFill>
                    <a:srgbClr val="171717"/>
                  </a:solidFill>
                  <a:latin typeface="+mj-lt"/>
                </a:rPr>
                <a:t>For enterprise scale deployments, it's recommended to separate the data preparation, dataset, and report development from a single file solution.</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dirty="0">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34.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35.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749" y="2568260"/>
            <a:ext cx="4848191" cy="447110"/>
          </a:xfrm>
        </p:spPr>
        <p:txBody>
          <a:bodyPr/>
          <a:lstStyle/>
          <a:p>
            <a:r>
              <a:rPr lang="en-US" dirty="0">
                <a:solidFill>
                  <a:schemeClr val="bg1">
                    <a:lumMod val="65000"/>
                  </a:schemeClr>
                </a:solidFill>
              </a:rPr>
              <a:t>All materials available at:</a:t>
            </a:r>
          </a:p>
        </p:txBody>
      </p:sp>
      <p:sp>
        <p:nvSpPr>
          <p:cNvPr id="4" name="Title 2">
            <a:extLst>
              <a:ext uri="{FF2B5EF4-FFF2-40B4-BE49-F238E27FC236}">
                <a16:creationId xmlns:a16="http://schemas.microsoft.com/office/drawing/2014/main" id="{0A6BBA13-66A2-9689-F50A-598B57A8481C}"/>
              </a:ext>
            </a:extLst>
          </p:cNvPr>
          <p:cNvSpPr txBox="1">
            <a:spLocks/>
          </p:cNvSpPr>
          <p:nvPr/>
        </p:nvSpPr>
        <p:spPr>
          <a:xfrm>
            <a:off x="1924749" y="3204324"/>
            <a:ext cx="8585390" cy="447110"/>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sz="4799" dirty="0"/>
              <a:t>https://aka.ms/pbiworkshops</a:t>
            </a:r>
          </a:p>
        </p:txBody>
      </p:sp>
      <p:sp>
        <p:nvSpPr>
          <p:cNvPr id="8" name="Title 1">
            <a:extLst>
              <a:ext uri="{FF2B5EF4-FFF2-40B4-BE49-F238E27FC236}">
                <a16:creationId xmlns:a16="http://schemas.microsoft.com/office/drawing/2014/main" id="{797C0335-7D4C-6A0B-5C4C-E117F9DCF97F}"/>
              </a:ext>
            </a:extLst>
          </p:cNvPr>
          <p:cNvSpPr txBox="1">
            <a:spLocks/>
          </p:cNvSpPr>
          <p:nvPr/>
        </p:nvSpPr>
        <p:spPr>
          <a:xfrm>
            <a:off x="1924749" y="4287498"/>
            <a:ext cx="7857204" cy="820738"/>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dirty="0">
                <a:solidFill>
                  <a:schemeClr val="bg1">
                    <a:lumMod val="65000"/>
                  </a:schemeClr>
                </a:solidFill>
              </a:rPr>
              <a:t>Folder:</a:t>
            </a:r>
          </a:p>
          <a:p>
            <a:r>
              <a:rPr lang="en-US" dirty="0">
                <a:solidFill>
                  <a:schemeClr val="tx1"/>
                </a:solidFill>
              </a:rPr>
              <a:t>Day After Dashboard in a Day</a:t>
            </a:r>
          </a:p>
        </p:txBody>
      </p:sp>
    </p:spTree>
    <p:extLst>
      <p:ext uri="{BB962C8B-B14F-4D97-AF65-F5344CB8AC3E}">
        <p14:creationId xmlns:p14="http://schemas.microsoft.com/office/powerpoint/2010/main" val="216789662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42.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dirty="0"/>
              <a:t>SETUP</a:t>
            </a:r>
          </a:p>
        </p:txBody>
      </p:sp>
    </p:spTree>
    <p:extLst>
      <p:ext uri="{BB962C8B-B14F-4D97-AF65-F5344CB8AC3E}">
        <p14:creationId xmlns:p14="http://schemas.microsoft.com/office/powerpoint/2010/main" val="358271725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dirty="0"/>
              <a:t>Appendix</a:t>
            </a:r>
          </a:p>
        </p:txBody>
      </p:sp>
    </p:spTree>
    <p:extLst>
      <p:ext uri="{BB962C8B-B14F-4D97-AF65-F5344CB8AC3E}">
        <p14:creationId xmlns:p14="http://schemas.microsoft.com/office/powerpoint/2010/main" val="227823574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6"/>
            </p:custDataLst>
          </p:nvPr>
        </p:nvSpPr>
        <p:spPr bwMode="auto">
          <a:xfrm rot="1095349">
            <a:off x="-1190676" y="687900"/>
            <a:ext cx="5618724" cy="5618724"/>
          </a:xfrm>
          <a:prstGeom prst="blockArc">
            <a:avLst>
              <a:gd name="adj1" fmla="val 15088304"/>
              <a:gd name="adj2" fmla="val 1728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Preparation</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7"/>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0" imgW="1397160" imgH="1606680" progId="Paint.Picture.1">
                    <p:embed/>
                  </p:oleObj>
                </mc:Choice>
                <mc:Fallback>
                  <p:oleObj name="Bitmap Image" r:id="rId90"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1"/>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110313"/>
            <a:chOff x="5889037" y="1419924"/>
            <a:chExt cx="6141097" cy="4110836"/>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047376"/>
            </a:xfrm>
            <a:prstGeom prst="rect">
              <a:avLst/>
            </a:prstGeom>
            <a:noFill/>
          </p:spPr>
          <p:txBody>
            <a:bodyPr wrap="square">
              <a:spAutoFit/>
            </a:bodyPr>
            <a:lstStyle/>
            <a:p>
              <a:r>
                <a:rPr lang="en-US" sz="2800" dirty="0">
                  <a:solidFill>
                    <a:srgbClr val="171717"/>
                  </a:solidFill>
                  <a:latin typeface="+mj-lt"/>
                </a:rPr>
                <a:t>We’ve been tasked with collecting and combining daily file extracts from our IT/Vendor support team.</a:t>
              </a:r>
            </a:p>
            <a:p>
              <a:endParaRPr lang="en-US" sz="2800" dirty="0">
                <a:solidFill>
                  <a:srgbClr val="171717"/>
                </a:solidFill>
                <a:latin typeface="+mj-lt"/>
              </a:endParaRPr>
            </a:p>
            <a:p>
              <a:r>
                <a:rPr lang="en-US" sz="2000" dirty="0">
                  <a:solidFill>
                    <a:srgbClr val="171717"/>
                  </a:solidFill>
                </a:rPr>
                <a:t>Since </a:t>
              </a:r>
              <a:r>
                <a:rPr lang="en-US" sz="2000">
                  <a:solidFill>
                    <a:srgbClr val="171717"/>
                  </a:solidFill>
                </a:rPr>
                <a:t>this information </a:t>
              </a:r>
              <a:r>
                <a:rPr lang="en-US" sz="2000" dirty="0">
                  <a:solidFill>
                    <a:srgbClr val="171717"/>
                  </a:solidFill>
                </a:rPr>
                <a:t>will be accessed by multiple teams in our organization, we’ll prepare our data once using dataflows and create reusable tables that our colleagues can easily connect.</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325526674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758727"/>
            <a:ext cx="7384111" cy="1477071"/>
          </a:xfrm>
        </p:spPr>
        <p:txBody>
          <a:bodyPr/>
          <a:lstStyle/>
          <a:p>
            <a:r>
              <a:rPr lang="en-US" sz="4799" dirty="0"/>
              <a:t>IF TIME ALLOWS…</a:t>
            </a:r>
            <a:br>
              <a:rPr lang="en-US" sz="4799" dirty="0"/>
            </a:br>
            <a:r>
              <a:rPr lang="en-US" sz="4799" dirty="0"/>
              <a:t>THE DEEP END.</a:t>
            </a:r>
          </a:p>
        </p:txBody>
      </p:sp>
    </p:spTree>
    <p:extLst>
      <p:ext uri="{BB962C8B-B14F-4D97-AF65-F5344CB8AC3E}">
        <p14:creationId xmlns:p14="http://schemas.microsoft.com/office/powerpoint/2010/main" val="247703149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1850962"/>
            <a:ext cx="11237870" cy="2769989"/>
          </a:xfrm>
        </p:spPr>
        <p:txBody>
          <a:bodyPr/>
          <a:lstStyle/>
          <a:p>
            <a:r>
              <a:rPr lang="en-US" sz="3600" dirty="0">
                <a:ea typeface="Times New Roman" panose="02020603050405020304" pitchFamily="18" charset="0"/>
                <a:cs typeface="Segoe UI"/>
              </a:rPr>
              <a:t>Performance considerations:</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cardinality</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encoding</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fficient resource usage</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xternal Tools</a:t>
            </a:r>
            <a:endParaRPr lang="en-US" sz="3600" dirty="0">
              <a:cs typeface="Segoe UI"/>
            </a:endParaRPr>
          </a:p>
        </p:txBody>
      </p:sp>
    </p:spTree>
    <p:extLst>
      <p:ext uri="{BB962C8B-B14F-4D97-AF65-F5344CB8AC3E}">
        <p14:creationId xmlns:p14="http://schemas.microsoft.com/office/powerpoint/2010/main" val="391191772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38023430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66291231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188423445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64448" y="2785746"/>
            <a:ext cx="2774547" cy="2523768"/>
          </a:xfrm>
          <a:prstGeom prst="rect">
            <a:avLst/>
          </a:prstGeom>
          <a:noFill/>
        </p:spPr>
        <p:txBody>
          <a:bodyPr wrap="square" lIns="0" tIns="0" rIns="0" bIns="0" rtlCol="0" anchor="t">
            <a:spAutoFit/>
          </a:bodyPr>
          <a:lstStyle/>
          <a:p>
            <a:r>
              <a:rPr lang="en-US" sz="2000" dirty="0">
                <a:solidFill>
                  <a:srgbClr val="171717"/>
                </a:solidFill>
                <a:latin typeface="Segoe UI"/>
                <a:cs typeface="Segoe UI"/>
              </a:rPr>
              <a:t>Dataflows are a self-service, cloud-based, data preparation technology. </a:t>
            </a:r>
            <a:endParaRPr lang="en-US" sz="2000" dirty="0">
              <a:solidFill>
                <a:srgbClr val="171717"/>
              </a:solidFill>
              <a:latin typeface="Segoe UI" panose="020B0502040204020203" pitchFamily="34" charset="0"/>
            </a:endParaRPr>
          </a:p>
          <a:p>
            <a:pPr algn="l"/>
            <a:endParaRPr lang="en-US" sz="2000" dirty="0">
              <a:solidFill>
                <a:srgbClr val="171717"/>
              </a:solidFill>
              <a:latin typeface="Segoe UI" panose="020B0502040204020203" pitchFamily="34" charset="0"/>
            </a:endParaRPr>
          </a:p>
          <a:p>
            <a:r>
              <a:rPr lang="en-US" sz="1600" dirty="0">
                <a:solidFill>
                  <a:schemeClr val="bg1">
                    <a:lumMod val="65000"/>
                  </a:schemeClr>
                </a:solidFill>
                <a:latin typeface="Segoe UI"/>
                <a:cs typeface="Segoe UI"/>
              </a:rPr>
              <a:t>Dataflows are available in Power BI, Power Apps and Dynamics 365 Customer Insights.</a:t>
            </a:r>
          </a:p>
        </p:txBody>
      </p:sp>
      <p:pic>
        <p:nvPicPr>
          <p:cNvPr id="16" name="Graphic 15" descr="Database outline">
            <a:extLst>
              <a:ext uri="{FF2B5EF4-FFF2-40B4-BE49-F238E27FC236}">
                <a16:creationId xmlns:a16="http://schemas.microsoft.com/office/drawing/2014/main" id="{1E6952E8-DE27-5791-99CA-4358D3D071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740" y="4836237"/>
            <a:ext cx="1220152" cy="1220152"/>
          </a:xfrm>
          <a:prstGeom prst="rect">
            <a:avLst/>
          </a:prstGeom>
        </p:spPr>
      </p:pic>
      <p:grpSp>
        <p:nvGrpSpPr>
          <p:cNvPr id="29" name="Group 28">
            <a:extLst>
              <a:ext uri="{FF2B5EF4-FFF2-40B4-BE49-F238E27FC236}">
                <a16:creationId xmlns:a16="http://schemas.microsoft.com/office/drawing/2014/main" id="{A1B0A015-0EFC-647F-840D-96CA97BA38B1}"/>
              </a:ext>
            </a:extLst>
          </p:cNvPr>
          <p:cNvGrpSpPr/>
          <p:nvPr/>
        </p:nvGrpSpPr>
        <p:grpSpPr>
          <a:xfrm>
            <a:off x="3588149" y="3477132"/>
            <a:ext cx="914400" cy="1205506"/>
            <a:chOff x="3617222" y="5150050"/>
            <a:chExt cx="914400" cy="1205506"/>
          </a:xfrm>
        </p:grpSpPr>
        <p:pic>
          <p:nvPicPr>
            <p:cNvPr id="13" name="Graphic 12" descr="Open folder outline">
              <a:extLst>
                <a:ext uri="{FF2B5EF4-FFF2-40B4-BE49-F238E27FC236}">
                  <a16:creationId xmlns:a16="http://schemas.microsoft.com/office/drawing/2014/main" id="{54E61980-228D-7894-3958-08650C6FD8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17222" y="5150050"/>
              <a:ext cx="914400" cy="914400"/>
            </a:xfrm>
            <a:prstGeom prst="rect">
              <a:avLst/>
            </a:prstGeom>
          </p:spPr>
        </p:pic>
        <p:pic>
          <p:nvPicPr>
            <p:cNvPr id="15" name="Graphic 14" descr="Document outline">
              <a:extLst>
                <a:ext uri="{FF2B5EF4-FFF2-40B4-BE49-F238E27FC236}">
                  <a16:creationId xmlns:a16="http://schemas.microsoft.com/office/drawing/2014/main" id="{0FEAB499-D54C-F5F7-FAE8-21472AD933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7222" y="5894252"/>
              <a:ext cx="461304" cy="461304"/>
            </a:xfrm>
            <a:prstGeom prst="rect">
              <a:avLst/>
            </a:prstGeom>
          </p:spPr>
        </p:pic>
        <p:pic>
          <p:nvPicPr>
            <p:cNvPr id="17" name="Graphic 16" descr="Document outline">
              <a:extLst>
                <a:ext uri="{FF2B5EF4-FFF2-40B4-BE49-F238E27FC236}">
                  <a16:creationId xmlns:a16="http://schemas.microsoft.com/office/drawing/2014/main" id="{3BBEB372-A8C9-31D2-E159-3F19E0EB56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3485" y="5894252"/>
              <a:ext cx="461304" cy="461304"/>
            </a:xfrm>
            <a:prstGeom prst="rect">
              <a:avLst/>
            </a:prstGeom>
          </p:spPr>
        </p:pic>
      </p:grpSp>
      <p:sp>
        <p:nvSpPr>
          <p:cNvPr id="19" name="Rectangle 18">
            <a:extLst>
              <a:ext uri="{FF2B5EF4-FFF2-40B4-BE49-F238E27FC236}">
                <a16:creationId xmlns:a16="http://schemas.microsoft.com/office/drawing/2014/main" id="{C9E4195A-C6CD-3E76-EE13-C54500180E68}"/>
              </a:ext>
            </a:extLst>
          </p:cNvPr>
          <p:cNvSpPr/>
          <p:nvPr/>
        </p:nvSpPr>
        <p:spPr bwMode="auto">
          <a:xfrm>
            <a:off x="5737794" y="2372751"/>
            <a:ext cx="2774548"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31" name="Straight Arrow Connector 30">
            <a:extLst>
              <a:ext uri="{FF2B5EF4-FFF2-40B4-BE49-F238E27FC236}">
                <a16:creationId xmlns:a16="http://schemas.microsoft.com/office/drawing/2014/main" id="{5398892E-3E61-156B-1211-00B5B6034393}"/>
              </a:ext>
            </a:extLst>
          </p:cNvPr>
          <p:cNvCxnSpPr>
            <a:cxnSpLocks/>
          </p:cNvCxnSpPr>
          <p:nvPr/>
        </p:nvCxnSpPr>
        <p:spPr>
          <a:xfrm>
            <a:off x="4618892" y="2909723"/>
            <a:ext cx="101287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276025C-24CB-287C-FF1E-4E1944DFA491}"/>
              </a:ext>
            </a:extLst>
          </p:cNvPr>
          <p:cNvCxnSpPr>
            <a:cxnSpLocks/>
          </p:cNvCxnSpPr>
          <p:nvPr/>
        </p:nvCxnSpPr>
        <p:spPr>
          <a:xfrm>
            <a:off x="4502549" y="5479194"/>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700C7F-CDCE-F30C-3880-AD7B5A2F1668}"/>
              </a:ext>
            </a:extLst>
          </p:cNvPr>
          <p:cNvCxnSpPr>
            <a:cxnSpLocks/>
          </p:cNvCxnSpPr>
          <p:nvPr/>
        </p:nvCxnSpPr>
        <p:spPr>
          <a:xfrm>
            <a:off x="4502549" y="4130031"/>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87" name="Group 1086">
            <a:extLst>
              <a:ext uri="{FF2B5EF4-FFF2-40B4-BE49-F238E27FC236}">
                <a16:creationId xmlns:a16="http://schemas.microsoft.com/office/drawing/2014/main" id="{DA966F6E-EC5F-860E-5BDA-D9FA8A2EE0CE}"/>
              </a:ext>
            </a:extLst>
          </p:cNvPr>
          <p:cNvGrpSpPr/>
          <p:nvPr/>
        </p:nvGrpSpPr>
        <p:grpSpPr>
          <a:xfrm>
            <a:off x="5955323" y="2437143"/>
            <a:ext cx="998520" cy="1023509"/>
            <a:chOff x="5955323" y="2437143"/>
            <a:chExt cx="998520" cy="1023509"/>
          </a:xfrm>
        </p:grpSpPr>
        <p:grpSp>
          <p:nvGrpSpPr>
            <p:cNvPr id="44" name="Group 43">
              <a:extLst>
                <a:ext uri="{FF2B5EF4-FFF2-40B4-BE49-F238E27FC236}">
                  <a16:creationId xmlns:a16="http://schemas.microsoft.com/office/drawing/2014/main" id="{337BEEDD-CFB9-C387-0ABB-DE26D87E0C55}"/>
                </a:ext>
              </a:extLst>
            </p:cNvPr>
            <p:cNvGrpSpPr/>
            <p:nvPr/>
          </p:nvGrpSpPr>
          <p:grpSpPr>
            <a:xfrm>
              <a:off x="5955323" y="2569698"/>
              <a:ext cx="998520" cy="890954"/>
              <a:chOff x="5955323" y="2569698"/>
              <a:chExt cx="998520" cy="890954"/>
            </a:xfrm>
          </p:grpSpPr>
          <p:pic>
            <p:nvPicPr>
              <p:cNvPr id="39" name="Graphic 38">
                <a:extLst>
                  <a:ext uri="{FF2B5EF4-FFF2-40B4-BE49-F238E27FC236}">
                    <a16:creationId xmlns:a16="http://schemas.microsoft.com/office/drawing/2014/main" id="{3B976E79-7DDB-C0CA-B2B6-40D3F3BA6E4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60468" y="2811585"/>
                <a:ext cx="375710" cy="429383"/>
              </a:xfrm>
              <a:prstGeom prst="rect">
                <a:avLst/>
              </a:prstGeom>
            </p:spPr>
          </p:pic>
          <p:pic>
            <p:nvPicPr>
              <p:cNvPr id="41" name="Graphic 40">
                <a:extLst>
                  <a:ext uri="{FF2B5EF4-FFF2-40B4-BE49-F238E27FC236}">
                    <a16:creationId xmlns:a16="http://schemas.microsoft.com/office/drawing/2014/main" id="{618F5D08-E145-B584-6A57-176AB9A8AF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42" name="Graphic 41">
                <a:extLst>
                  <a:ext uri="{FF2B5EF4-FFF2-40B4-BE49-F238E27FC236}">
                    <a16:creationId xmlns:a16="http://schemas.microsoft.com/office/drawing/2014/main" id="{7AD9EA28-A746-B767-B903-B6E37A92F9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43" name="Rectangle 42">
                <a:extLst>
                  <a:ext uri="{FF2B5EF4-FFF2-40B4-BE49-F238E27FC236}">
                    <a16:creationId xmlns:a16="http://schemas.microsoft.com/office/drawing/2014/main" id="{25498F5A-C8C0-6D4D-B63C-C32F35AD4406}"/>
                  </a:ext>
                </a:extLst>
              </p:cNvPr>
              <p:cNvSpPr/>
              <p:nvPr/>
            </p:nvSpPr>
            <p:spPr bwMode="auto">
              <a:xfrm>
                <a:off x="5955323" y="2569698"/>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sp>
          <p:nvSpPr>
            <p:cNvPr id="1048" name="TextBox 1047">
              <a:extLst>
                <a:ext uri="{FF2B5EF4-FFF2-40B4-BE49-F238E27FC236}">
                  <a16:creationId xmlns:a16="http://schemas.microsoft.com/office/drawing/2014/main" id="{757DA3A8-771A-C857-7983-BDBFF1FD3D22}"/>
                </a:ext>
              </a:extLst>
            </p:cNvPr>
            <p:cNvSpPr txBox="1"/>
            <p:nvPr/>
          </p:nvSpPr>
          <p:spPr>
            <a:xfrm>
              <a:off x="6436073" y="2437143"/>
              <a:ext cx="517770" cy="107722"/>
            </a:xfrm>
            <a:prstGeom prst="rect">
              <a:avLst/>
            </a:prstGeom>
            <a:noFill/>
          </p:spPr>
          <p:txBody>
            <a:bodyPr wrap="none" lIns="0" tIns="0" rIns="0" bIns="0" rtlCol="0">
              <a:spAutoFit/>
            </a:bodyPr>
            <a:lstStyle/>
            <a:p>
              <a:pPr algn="l"/>
              <a:r>
                <a:rPr lang="en-US" sz="700" dirty="0"/>
                <a:t>Workspace A</a:t>
              </a:r>
            </a:p>
          </p:txBody>
        </p:sp>
      </p:grpSp>
      <p:grpSp>
        <p:nvGrpSpPr>
          <p:cNvPr id="1086" name="Group 1085">
            <a:extLst>
              <a:ext uri="{FF2B5EF4-FFF2-40B4-BE49-F238E27FC236}">
                <a16:creationId xmlns:a16="http://schemas.microsoft.com/office/drawing/2014/main" id="{BD769A70-F290-2C3C-5E7C-335765FD378B}"/>
              </a:ext>
            </a:extLst>
          </p:cNvPr>
          <p:cNvGrpSpPr/>
          <p:nvPr/>
        </p:nvGrpSpPr>
        <p:grpSpPr>
          <a:xfrm>
            <a:off x="5955323" y="2437143"/>
            <a:ext cx="2300055" cy="2193426"/>
            <a:chOff x="5955323" y="2437143"/>
            <a:chExt cx="2300055" cy="2193426"/>
          </a:xfrm>
        </p:grpSpPr>
        <p:grpSp>
          <p:nvGrpSpPr>
            <p:cNvPr id="1044" name="Group 1043">
              <a:extLst>
                <a:ext uri="{FF2B5EF4-FFF2-40B4-BE49-F238E27FC236}">
                  <a16:creationId xmlns:a16="http://schemas.microsoft.com/office/drawing/2014/main" id="{623E5E5D-B94F-9470-0EA9-ABF03336F0B4}"/>
                </a:ext>
              </a:extLst>
            </p:cNvPr>
            <p:cNvGrpSpPr/>
            <p:nvPr/>
          </p:nvGrpSpPr>
          <p:grpSpPr>
            <a:xfrm>
              <a:off x="5955323" y="2566358"/>
              <a:ext cx="2300055" cy="2064211"/>
              <a:chOff x="5955323" y="2566358"/>
              <a:chExt cx="2300055" cy="2064211"/>
            </a:xfrm>
          </p:grpSpPr>
          <p:grpSp>
            <p:nvGrpSpPr>
              <p:cNvPr id="45" name="Group 44">
                <a:extLst>
                  <a:ext uri="{FF2B5EF4-FFF2-40B4-BE49-F238E27FC236}">
                    <a16:creationId xmlns:a16="http://schemas.microsoft.com/office/drawing/2014/main" id="{FA57B2D2-D67F-171D-D083-E83FECA60F28}"/>
                  </a:ext>
                </a:extLst>
              </p:cNvPr>
              <p:cNvGrpSpPr/>
              <p:nvPr/>
            </p:nvGrpSpPr>
            <p:grpSpPr>
              <a:xfrm>
                <a:off x="7256858" y="2566358"/>
                <a:ext cx="998520" cy="890954"/>
                <a:chOff x="5955323" y="2555539"/>
                <a:chExt cx="998520" cy="890954"/>
              </a:xfrm>
            </p:grpSpPr>
            <p:pic>
              <p:nvPicPr>
                <p:cNvPr id="46" name="Graphic 45">
                  <a:extLst>
                    <a:ext uri="{FF2B5EF4-FFF2-40B4-BE49-F238E27FC236}">
                      <a16:creationId xmlns:a16="http://schemas.microsoft.com/office/drawing/2014/main" id="{3819B164-A680-07DF-0E06-B9D95260D9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55697" y="2811302"/>
                  <a:ext cx="375710" cy="429383"/>
                </a:xfrm>
                <a:prstGeom prst="rect">
                  <a:avLst/>
                </a:prstGeom>
              </p:spPr>
            </p:pic>
            <p:pic>
              <p:nvPicPr>
                <p:cNvPr id="47" name="Graphic 46">
                  <a:extLst>
                    <a:ext uri="{FF2B5EF4-FFF2-40B4-BE49-F238E27FC236}">
                      <a16:creationId xmlns:a16="http://schemas.microsoft.com/office/drawing/2014/main" id="{BB28C495-E5E0-EAFB-87D0-92572624191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48" name="Graphic 47">
                  <a:extLst>
                    <a:ext uri="{FF2B5EF4-FFF2-40B4-BE49-F238E27FC236}">
                      <a16:creationId xmlns:a16="http://schemas.microsoft.com/office/drawing/2014/main" id="{216D162C-7BF3-709C-C864-FBB7A084543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49" name="Rectangle 48">
                  <a:extLst>
                    <a:ext uri="{FF2B5EF4-FFF2-40B4-BE49-F238E27FC236}">
                      <a16:creationId xmlns:a16="http://schemas.microsoft.com/office/drawing/2014/main" id="{75698A19-DE75-F952-158A-CB65CED09CD6}"/>
                    </a:ext>
                  </a:extLst>
                </p:cNvPr>
                <p:cNvSpPr/>
                <p:nvPr/>
              </p:nvSpPr>
              <p:spPr bwMode="auto">
                <a:xfrm>
                  <a:off x="5955323" y="2555539"/>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0691E17E-BAA6-6E91-E7B4-4B3E831760DA}"/>
                  </a:ext>
                </a:extLst>
              </p:cNvPr>
              <p:cNvGrpSpPr/>
              <p:nvPr/>
            </p:nvGrpSpPr>
            <p:grpSpPr>
              <a:xfrm>
                <a:off x="5955323" y="3739615"/>
                <a:ext cx="998520" cy="890954"/>
                <a:chOff x="5955323" y="2564695"/>
                <a:chExt cx="998520" cy="890954"/>
              </a:xfrm>
            </p:grpSpPr>
            <p:pic>
              <p:nvPicPr>
                <p:cNvPr id="51" name="Graphic 50">
                  <a:extLst>
                    <a:ext uri="{FF2B5EF4-FFF2-40B4-BE49-F238E27FC236}">
                      <a16:creationId xmlns:a16="http://schemas.microsoft.com/office/drawing/2014/main" id="{5FFCF003-5469-A1EF-3961-F79FF88EF4B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60468" y="2820345"/>
                  <a:ext cx="375710" cy="429383"/>
                </a:xfrm>
                <a:prstGeom prst="rect">
                  <a:avLst/>
                </a:prstGeom>
              </p:spPr>
            </p:pic>
            <p:pic>
              <p:nvPicPr>
                <p:cNvPr id="52" name="Graphic 51">
                  <a:extLst>
                    <a:ext uri="{FF2B5EF4-FFF2-40B4-BE49-F238E27FC236}">
                      <a16:creationId xmlns:a16="http://schemas.microsoft.com/office/drawing/2014/main" id="{A53A23E1-1F3E-691A-03F2-E8D91CF1D2B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53" name="Graphic 52">
                  <a:extLst>
                    <a:ext uri="{FF2B5EF4-FFF2-40B4-BE49-F238E27FC236}">
                      <a16:creationId xmlns:a16="http://schemas.microsoft.com/office/drawing/2014/main" id="{9BA2ED06-7CE5-64DE-C0F4-A62D3F94D4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54" name="Rectangle 53">
                  <a:extLst>
                    <a:ext uri="{FF2B5EF4-FFF2-40B4-BE49-F238E27FC236}">
                      <a16:creationId xmlns:a16="http://schemas.microsoft.com/office/drawing/2014/main" id="{DBE0A322-697C-3693-866E-18E49225D6F0}"/>
                    </a:ext>
                  </a:extLst>
                </p:cNvPr>
                <p:cNvSpPr/>
                <p:nvPr/>
              </p:nvSpPr>
              <p:spPr bwMode="auto">
                <a:xfrm>
                  <a:off x="5955323" y="2564695"/>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C57E7E65-0EC9-58B8-AE8C-45094C57ACC2}"/>
                  </a:ext>
                </a:extLst>
              </p:cNvPr>
              <p:cNvGrpSpPr/>
              <p:nvPr/>
            </p:nvGrpSpPr>
            <p:grpSpPr>
              <a:xfrm>
                <a:off x="7247056" y="3735876"/>
                <a:ext cx="998520" cy="890954"/>
                <a:chOff x="5924979" y="2560956"/>
                <a:chExt cx="998520" cy="890954"/>
              </a:xfrm>
            </p:grpSpPr>
            <p:pic>
              <p:nvPicPr>
                <p:cNvPr id="56" name="Graphic 55">
                  <a:extLst>
                    <a:ext uri="{FF2B5EF4-FFF2-40B4-BE49-F238E27FC236}">
                      <a16:creationId xmlns:a16="http://schemas.microsoft.com/office/drawing/2014/main" id="{0D6DE8F0-777E-46FE-C312-871724824C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52270" y="2817311"/>
                  <a:ext cx="375710" cy="429383"/>
                </a:xfrm>
                <a:prstGeom prst="rect">
                  <a:avLst/>
                </a:prstGeom>
              </p:spPr>
            </p:pic>
            <p:pic>
              <p:nvPicPr>
                <p:cNvPr id="57" name="Graphic 56">
                  <a:extLst>
                    <a:ext uri="{FF2B5EF4-FFF2-40B4-BE49-F238E27FC236}">
                      <a16:creationId xmlns:a16="http://schemas.microsoft.com/office/drawing/2014/main" id="{10F406F1-C73E-E35F-21C5-7C824C53CB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58" name="Graphic 57">
                  <a:extLst>
                    <a:ext uri="{FF2B5EF4-FFF2-40B4-BE49-F238E27FC236}">
                      <a16:creationId xmlns:a16="http://schemas.microsoft.com/office/drawing/2014/main" id="{A42897BC-D5B4-1017-1190-D80BC47BB3F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59" name="Rectangle 58">
                  <a:extLst>
                    <a:ext uri="{FF2B5EF4-FFF2-40B4-BE49-F238E27FC236}">
                      <a16:creationId xmlns:a16="http://schemas.microsoft.com/office/drawing/2014/main" id="{38EF8836-699E-7DC0-3D29-56BBF74E41AB}"/>
                    </a:ext>
                  </a:extLst>
                </p:cNvPr>
                <p:cNvSpPr/>
                <p:nvPr/>
              </p:nvSpPr>
              <p:spPr bwMode="auto">
                <a:xfrm>
                  <a:off x="5924979" y="2560956"/>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sp>
          <p:nvSpPr>
            <p:cNvPr id="1047" name="TextBox 1046">
              <a:extLst>
                <a:ext uri="{FF2B5EF4-FFF2-40B4-BE49-F238E27FC236}">
                  <a16:creationId xmlns:a16="http://schemas.microsoft.com/office/drawing/2014/main" id="{8C824E53-148E-23CF-1C28-7A4AE314980F}"/>
                </a:ext>
              </a:extLst>
            </p:cNvPr>
            <p:cNvSpPr txBox="1"/>
            <p:nvPr/>
          </p:nvSpPr>
          <p:spPr>
            <a:xfrm>
              <a:off x="7737608" y="2437143"/>
              <a:ext cx="511358" cy="107722"/>
            </a:xfrm>
            <a:prstGeom prst="rect">
              <a:avLst/>
            </a:prstGeom>
            <a:noFill/>
          </p:spPr>
          <p:txBody>
            <a:bodyPr wrap="none" lIns="0" tIns="0" rIns="0" bIns="0" rtlCol="0">
              <a:spAutoFit/>
            </a:bodyPr>
            <a:lstStyle/>
            <a:p>
              <a:pPr algn="l"/>
              <a:r>
                <a:rPr lang="en-US" sz="700" dirty="0"/>
                <a:t>Workspace B</a:t>
              </a:r>
            </a:p>
          </p:txBody>
        </p:sp>
        <p:sp>
          <p:nvSpPr>
            <p:cNvPr id="1049" name="TextBox 1048">
              <a:extLst>
                <a:ext uri="{FF2B5EF4-FFF2-40B4-BE49-F238E27FC236}">
                  <a16:creationId xmlns:a16="http://schemas.microsoft.com/office/drawing/2014/main" id="{2FA1E4FD-267D-6959-22B6-0E1D24C4B854}"/>
                </a:ext>
              </a:extLst>
            </p:cNvPr>
            <p:cNvSpPr txBox="1"/>
            <p:nvPr/>
          </p:nvSpPr>
          <p:spPr>
            <a:xfrm>
              <a:off x="6436073" y="3611087"/>
              <a:ext cx="517770" cy="107722"/>
            </a:xfrm>
            <a:prstGeom prst="rect">
              <a:avLst/>
            </a:prstGeom>
            <a:noFill/>
          </p:spPr>
          <p:txBody>
            <a:bodyPr wrap="none" lIns="0" tIns="0" rIns="0" bIns="0" rtlCol="0">
              <a:spAutoFit/>
            </a:bodyPr>
            <a:lstStyle/>
            <a:p>
              <a:pPr algn="l"/>
              <a:r>
                <a:rPr lang="en-US" sz="700" dirty="0"/>
                <a:t>Workspace C</a:t>
              </a:r>
            </a:p>
          </p:txBody>
        </p:sp>
        <p:sp>
          <p:nvSpPr>
            <p:cNvPr id="1050" name="TextBox 1049">
              <a:extLst>
                <a:ext uri="{FF2B5EF4-FFF2-40B4-BE49-F238E27FC236}">
                  <a16:creationId xmlns:a16="http://schemas.microsoft.com/office/drawing/2014/main" id="{AE2F13F1-F8F2-5894-41A2-2D7561E0B732}"/>
                </a:ext>
              </a:extLst>
            </p:cNvPr>
            <p:cNvSpPr txBox="1"/>
            <p:nvPr/>
          </p:nvSpPr>
          <p:spPr>
            <a:xfrm>
              <a:off x="7737608" y="3596396"/>
              <a:ext cx="517770" cy="107722"/>
            </a:xfrm>
            <a:prstGeom prst="rect">
              <a:avLst/>
            </a:prstGeom>
            <a:noFill/>
          </p:spPr>
          <p:txBody>
            <a:bodyPr wrap="none" lIns="0" tIns="0" rIns="0" bIns="0" rtlCol="0">
              <a:spAutoFit/>
            </a:bodyPr>
            <a:lstStyle/>
            <a:p>
              <a:pPr algn="l"/>
              <a:r>
                <a:rPr lang="en-US" sz="700" dirty="0"/>
                <a:t>Workspace D</a:t>
              </a:r>
            </a:p>
          </p:txBody>
        </p:sp>
      </p:grpSp>
      <p:grpSp>
        <p:nvGrpSpPr>
          <p:cNvPr id="1077" name="Group 1076">
            <a:extLst>
              <a:ext uri="{FF2B5EF4-FFF2-40B4-BE49-F238E27FC236}">
                <a16:creationId xmlns:a16="http://schemas.microsoft.com/office/drawing/2014/main" id="{A5915ECB-6D1E-EA73-4AD7-776EC9F33C30}"/>
              </a:ext>
            </a:extLst>
          </p:cNvPr>
          <p:cNvGrpSpPr/>
          <p:nvPr/>
        </p:nvGrpSpPr>
        <p:grpSpPr>
          <a:xfrm>
            <a:off x="5946094" y="4702578"/>
            <a:ext cx="2330005" cy="1024865"/>
            <a:chOff x="5946094" y="4702578"/>
            <a:chExt cx="2330005" cy="1024865"/>
          </a:xfrm>
        </p:grpSpPr>
        <p:grpSp>
          <p:nvGrpSpPr>
            <p:cNvPr id="1045" name="Group 1044">
              <a:extLst>
                <a:ext uri="{FF2B5EF4-FFF2-40B4-BE49-F238E27FC236}">
                  <a16:creationId xmlns:a16="http://schemas.microsoft.com/office/drawing/2014/main" id="{9FCBF750-B9A2-9A9F-4EF6-84D7360D1F30}"/>
                </a:ext>
              </a:extLst>
            </p:cNvPr>
            <p:cNvGrpSpPr/>
            <p:nvPr/>
          </p:nvGrpSpPr>
          <p:grpSpPr>
            <a:xfrm>
              <a:off x="5946094" y="4836489"/>
              <a:ext cx="2329826" cy="890954"/>
              <a:chOff x="5946094" y="4836489"/>
              <a:chExt cx="2329826" cy="890954"/>
            </a:xfrm>
          </p:grpSpPr>
          <p:pic>
            <p:nvPicPr>
              <p:cNvPr id="61" name="Graphic 60">
                <a:extLst>
                  <a:ext uri="{FF2B5EF4-FFF2-40B4-BE49-F238E27FC236}">
                    <a16:creationId xmlns:a16="http://schemas.microsoft.com/office/drawing/2014/main" id="{DB6A2D55-A500-9FF1-FBB6-DA0123E8AB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72173" y="5094823"/>
                <a:ext cx="375710" cy="429383"/>
              </a:xfrm>
              <a:prstGeom prst="rect">
                <a:avLst/>
              </a:prstGeom>
            </p:spPr>
          </p:pic>
          <p:sp>
            <p:nvSpPr>
              <p:cNvPr id="1024" name="Rectangle 1023">
                <a:extLst>
                  <a:ext uri="{FF2B5EF4-FFF2-40B4-BE49-F238E27FC236}">
                    <a16:creationId xmlns:a16="http://schemas.microsoft.com/office/drawing/2014/main" id="{62C43127-D7A5-5D4E-74AE-AA52023E3B28}"/>
                  </a:ext>
                </a:extLst>
              </p:cNvPr>
              <p:cNvSpPr/>
              <p:nvPr/>
            </p:nvSpPr>
            <p:spPr bwMode="auto">
              <a:xfrm>
                <a:off x="5946094" y="4836489"/>
                <a:ext cx="2329826"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28" name="Graphic 1027">
                <a:extLst>
                  <a:ext uri="{FF2B5EF4-FFF2-40B4-BE49-F238E27FC236}">
                    <a16:creationId xmlns:a16="http://schemas.microsoft.com/office/drawing/2014/main" id="{2930A7E9-9C7E-C294-57B6-7B16BD7E9D9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92879" y="4987985"/>
                <a:ext cx="304800" cy="304800"/>
              </a:xfrm>
              <a:prstGeom prst="rect">
                <a:avLst/>
              </a:prstGeom>
            </p:spPr>
          </p:pic>
          <p:pic>
            <p:nvPicPr>
              <p:cNvPr id="1030" name="Graphic 1029">
                <a:extLst>
                  <a:ext uri="{FF2B5EF4-FFF2-40B4-BE49-F238E27FC236}">
                    <a16:creationId xmlns:a16="http://schemas.microsoft.com/office/drawing/2014/main" id="{16CC54DE-2C05-A5FA-FF6F-30CBCB5FC0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61014" y="4987985"/>
                <a:ext cx="304800" cy="304800"/>
              </a:xfrm>
              <a:prstGeom prst="rect">
                <a:avLst/>
              </a:prstGeom>
            </p:spPr>
          </p:pic>
          <p:pic>
            <p:nvPicPr>
              <p:cNvPr id="1034" name="Graphic 1033">
                <a:extLst>
                  <a:ext uri="{FF2B5EF4-FFF2-40B4-BE49-F238E27FC236}">
                    <a16:creationId xmlns:a16="http://schemas.microsoft.com/office/drawing/2014/main" id="{4605184A-3D65-2733-F13B-FECF3DA2B15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97622" y="5309514"/>
                <a:ext cx="304800" cy="304800"/>
              </a:xfrm>
              <a:prstGeom prst="rect">
                <a:avLst/>
              </a:prstGeom>
            </p:spPr>
          </p:pic>
          <p:pic>
            <p:nvPicPr>
              <p:cNvPr id="1035" name="Graphic 1034">
                <a:extLst>
                  <a:ext uri="{FF2B5EF4-FFF2-40B4-BE49-F238E27FC236}">
                    <a16:creationId xmlns:a16="http://schemas.microsoft.com/office/drawing/2014/main" id="{ABFE7E9A-A053-07BF-66F8-0F38115D69C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59277" y="5309514"/>
                <a:ext cx="304800" cy="304800"/>
              </a:xfrm>
              <a:prstGeom prst="rect">
                <a:avLst/>
              </a:prstGeom>
            </p:spPr>
          </p:pic>
        </p:grpSp>
        <p:sp>
          <p:nvSpPr>
            <p:cNvPr id="1051" name="TextBox 1050">
              <a:extLst>
                <a:ext uri="{FF2B5EF4-FFF2-40B4-BE49-F238E27FC236}">
                  <a16:creationId xmlns:a16="http://schemas.microsoft.com/office/drawing/2014/main" id="{4654A765-3DD5-D537-2B1F-EAD59A313036}"/>
                </a:ext>
              </a:extLst>
            </p:cNvPr>
            <p:cNvSpPr txBox="1"/>
            <p:nvPr/>
          </p:nvSpPr>
          <p:spPr>
            <a:xfrm>
              <a:off x="7758329" y="4702578"/>
              <a:ext cx="517770" cy="107722"/>
            </a:xfrm>
            <a:prstGeom prst="rect">
              <a:avLst/>
            </a:prstGeom>
            <a:noFill/>
          </p:spPr>
          <p:txBody>
            <a:bodyPr wrap="none" lIns="0" tIns="0" rIns="0" bIns="0" rtlCol="0">
              <a:spAutoFit/>
            </a:bodyPr>
            <a:lstStyle/>
            <a:p>
              <a:pPr algn="l"/>
              <a:r>
                <a:rPr lang="en-US" sz="700" dirty="0"/>
                <a:t>Workspace E</a:t>
              </a:r>
            </a:p>
          </p:txBody>
        </p:sp>
        <p:grpSp>
          <p:nvGrpSpPr>
            <p:cNvPr id="1067" name="Group 1066">
              <a:extLst>
                <a:ext uri="{FF2B5EF4-FFF2-40B4-BE49-F238E27FC236}">
                  <a16:creationId xmlns:a16="http://schemas.microsoft.com/office/drawing/2014/main" id="{F7DE9C8E-4904-0070-270B-E6551333CF3D}"/>
                </a:ext>
              </a:extLst>
            </p:cNvPr>
            <p:cNvGrpSpPr/>
            <p:nvPr/>
          </p:nvGrpSpPr>
          <p:grpSpPr>
            <a:xfrm>
              <a:off x="6039002" y="4993020"/>
              <a:ext cx="328612" cy="316494"/>
              <a:chOff x="5246780" y="5869048"/>
              <a:chExt cx="328612" cy="316494"/>
            </a:xfrm>
          </p:grpSpPr>
          <p:pic>
            <p:nvPicPr>
              <p:cNvPr id="1065" name="Graphic 1064">
                <a:extLst>
                  <a:ext uri="{FF2B5EF4-FFF2-40B4-BE49-F238E27FC236}">
                    <a16:creationId xmlns:a16="http://schemas.microsoft.com/office/drawing/2014/main" id="{40F6932B-D822-FCCB-7914-9ADD64AFAF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66" name="Graphic 1065">
                <a:extLst>
                  <a:ext uri="{FF2B5EF4-FFF2-40B4-BE49-F238E27FC236}">
                    <a16:creationId xmlns:a16="http://schemas.microsoft.com/office/drawing/2014/main" id="{6DD6F771-F2C8-371E-8409-6ED5352A55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nvGrpSpPr>
            <p:cNvPr id="1068" name="Group 1067">
              <a:extLst>
                <a:ext uri="{FF2B5EF4-FFF2-40B4-BE49-F238E27FC236}">
                  <a16:creationId xmlns:a16="http://schemas.microsoft.com/office/drawing/2014/main" id="{F139FC07-8158-15F0-4FD8-7A6E7ECE3AB5}"/>
                </a:ext>
              </a:extLst>
            </p:cNvPr>
            <p:cNvGrpSpPr/>
            <p:nvPr/>
          </p:nvGrpSpPr>
          <p:grpSpPr>
            <a:xfrm>
              <a:off x="6413110" y="4993020"/>
              <a:ext cx="328612" cy="316494"/>
              <a:chOff x="5246780" y="5869048"/>
              <a:chExt cx="328612" cy="316494"/>
            </a:xfrm>
          </p:grpSpPr>
          <p:pic>
            <p:nvPicPr>
              <p:cNvPr id="1069" name="Graphic 1068">
                <a:extLst>
                  <a:ext uri="{FF2B5EF4-FFF2-40B4-BE49-F238E27FC236}">
                    <a16:creationId xmlns:a16="http://schemas.microsoft.com/office/drawing/2014/main" id="{FDDD6FC3-2E65-805F-6BA8-0D8DFB8C9C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0" name="Graphic 1069">
                <a:extLst>
                  <a:ext uri="{FF2B5EF4-FFF2-40B4-BE49-F238E27FC236}">
                    <a16:creationId xmlns:a16="http://schemas.microsoft.com/office/drawing/2014/main" id="{5D3110B9-1C3D-B3E7-754C-2981850432D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nvGrpSpPr>
            <p:cNvPr id="1071" name="Group 1070">
              <a:extLst>
                <a:ext uri="{FF2B5EF4-FFF2-40B4-BE49-F238E27FC236}">
                  <a16:creationId xmlns:a16="http://schemas.microsoft.com/office/drawing/2014/main" id="{0324F3A9-34F0-85C2-3120-45A88C1129A7}"/>
                </a:ext>
              </a:extLst>
            </p:cNvPr>
            <p:cNvGrpSpPr/>
            <p:nvPr/>
          </p:nvGrpSpPr>
          <p:grpSpPr>
            <a:xfrm>
              <a:off x="6039002" y="5309514"/>
              <a:ext cx="328612" cy="316494"/>
              <a:chOff x="5246780" y="5869048"/>
              <a:chExt cx="328612" cy="316494"/>
            </a:xfrm>
          </p:grpSpPr>
          <p:pic>
            <p:nvPicPr>
              <p:cNvPr id="1072" name="Graphic 1071">
                <a:extLst>
                  <a:ext uri="{FF2B5EF4-FFF2-40B4-BE49-F238E27FC236}">
                    <a16:creationId xmlns:a16="http://schemas.microsoft.com/office/drawing/2014/main" id="{EC6E1754-B5AC-741B-A4DD-CA44F47471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3" name="Graphic 1072">
                <a:extLst>
                  <a:ext uri="{FF2B5EF4-FFF2-40B4-BE49-F238E27FC236}">
                    <a16:creationId xmlns:a16="http://schemas.microsoft.com/office/drawing/2014/main" id="{3D82B67C-20A5-E7D5-D521-B53AF401AEF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nvGrpSpPr>
            <p:cNvPr id="1074" name="Group 1073">
              <a:extLst>
                <a:ext uri="{FF2B5EF4-FFF2-40B4-BE49-F238E27FC236}">
                  <a16:creationId xmlns:a16="http://schemas.microsoft.com/office/drawing/2014/main" id="{11C90B8B-2F97-E717-AB22-0065941BFF28}"/>
                </a:ext>
              </a:extLst>
            </p:cNvPr>
            <p:cNvGrpSpPr/>
            <p:nvPr/>
          </p:nvGrpSpPr>
          <p:grpSpPr>
            <a:xfrm>
              <a:off x="6413110" y="5309514"/>
              <a:ext cx="328612" cy="316494"/>
              <a:chOff x="5246780" y="5869048"/>
              <a:chExt cx="328612" cy="316494"/>
            </a:xfrm>
          </p:grpSpPr>
          <p:pic>
            <p:nvPicPr>
              <p:cNvPr id="1075" name="Graphic 1074">
                <a:extLst>
                  <a:ext uri="{FF2B5EF4-FFF2-40B4-BE49-F238E27FC236}">
                    <a16:creationId xmlns:a16="http://schemas.microsoft.com/office/drawing/2014/main" id="{A0CAA90D-2F7A-BE08-B0C1-17B6F62C9F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6" name="Graphic 1075">
                <a:extLst>
                  <a:ext uri="{FF2B5EF4-FFF2-40B4-BE49-F238E27FC236}">
                    <a16:creationId xmlns:a16="http://schemas.microsoft.com/office/drawing/2014/main" id="{0FDEBF6A-8675-1FB3-9D95-9B52865573C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sp>
        <p:nvSpPr>
          <p:cNvPr id="1078" name="TextBox 1077">
            <a:extLst>
              <a:ext uri="{FF2B5EF4-FFF2-40B4-BE49-F238E27FC236}">
                <a16:creationId xmlns:a16="http://schemas.microsoft.com/office/drawing/2014/main" id="{AF931C37-F8DF-7B0C-75F9-C112210F1DF5}"/>
              </a:ext>
            </a:extLst>
          </p:cNvPr>
          <p:cNvSpPr txBox="1"/>
          <p:nvPr/>
        </p:nvSpPr>
        <p:spPr>
          <a:xfrm>
            <a:off x="5740299" y="2139721"/>
            <a:ext cx="1726435" cy="153888"/>
          </a:xfrm>
          <a:prstGeom prst="rect">
            <a:avLst/>
          </a:prstGeom>
          <a:noFill/>
        </p:spPr>
        <p:txBody>
          <a:bodyPr wrap="none" lIns="0" tIns="0" rIns="0" bIns="0" rtlCol="0">
            <a:spAutoFit/>
          </a:bodyPr>
          <a:lstStyle/>
          <a:p>
            <a:pPr algn="l"/>
            <a:r>
              <a:rPr lang="en-US" sz="1000" dirty="0"/>
              <a:t>Azure Data Lake Gen2 Storage</a:t>
            </a:r>
          </a:p>
        </p:txBody>
      </p:sp>
      <p:pic>
        <p:nvPicPr>
          <p:cNvPr id="1080" name="Graphic 1079" descr="Cloud outline">
            <a:extLst>
              <a:ext uri="{FF2B5EF4-FFF2-40B4-BE49-F238E27FC236}">
                <a16:creationId xmlns:a16="http://schemas.microsoft.com/office/drawing/2014/main" id="{5B3D5640-0948-E72B-3C86-4EBC75F1B76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15498" y="2269845"/>
            <a:ext cx="1186862" cy="1186862"/>
          </a:xfrm>
          <a:prstGeom prst="rect">
            <a:avLst/>
          </a:prstGeom>
        </p:spPr>
      </p:pic>
      <p:grpSp>
        <p:nvGrpSpPr>
          <p:cNvPr id="1092" name="Group 1091">
            <a:extLst>
              <a:ext uri="{FF2B5EF4-FFF2-40B4-BE49-F238E27FC236}">
                <a16:creationId xmlns:a16="http://schemas.microsoft.com/office/drawing/2014/main" id="{8D34BAA7-F68E-7EE6-D2EA-CB49CDF53E14}"/>
              </a:ext>
            </a:extLst>
          </p:cNvPr>
          <p:cNvGrpSpPr/>
          <p:nvPr/>
        </p:nvGrpSpPr>
        <p:grpSpPr>
          <a:xfrm>
            <a:off x="8546748" y="2139721"/>
            <a:ext cx="3091223" cy="3788639"/>
            <a:chOff x="8546748" y="2139721"/>
            <a:chExt cx="3091223" cy="3788639"/>
          </a:xfrm>
        </p:grpSpPr>
        <p:pic>
          <p:nvPicPr>
            <p:cNvPr id="24" name="Graphic 23">
              <a:extLst>
                <a:ext uri="{FF2B5EF4-FFF2-40B4-BE49-F238E27FC236}">
                  <a16:creationId xmlns:a16="http://schemas.microsoft.com/office/drawing/2014/main" id="{E5CA8B70-9227-2F65-9868-8208047A080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035153" y="3792791"/>
              <a:ext cx="419974" cy="534512"/>
            </a:xfrm>
            <a:prstGeom prst="rect">
              <a:avLst/>
            </a:prstGeom>
          </p:spPr>
        </p:pic>
        <p:pic>
          <p:nvPicPr>
            <p:cNvPr id="26" name="Graphic 25">
              <a:extLst>
                <a:ext uri="{FF2B5EF4-FFF2-40B4-BE49-F238E27FC236}">
                  <a16:creationId xmlns:a16="http://schemas.microsoft.com/office/drawing/2014/main" id="{8E72EFF4-F601-29D5-005E-C02748601F0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34109" y="3792931"/>
              <a:ext cx="541824" cy="469580"/>
            </a:xfrm>
            <a:prstGeom prst="rect">
              <a:avLst/>
            </a:prstGeom>
          </p:spPr>
        </p:pic>
        <p:pic>
          <p:nvPicPr>
            <p:cNvPr id="28" name="Graphic 27">
              <a:extLst>
                <a:ext uri="{FF2B5EF4-FFF2-40B4-BE49-F238E27FC236}">
                  <a16:creationId xmlns:a16="http://schemas.microsoft.com/office/drawing/2014/main" id="{7315FEB8-F197-5F79-FD0D-22B3B07FEEF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954915" y="3792791"/>
              <a:ext cx="539496" cy="539496"/>
            </a:xfrm>
            <a:prstGeom prst="rect">
              <a:avLst/>
            </a:prstGeom>
          </p:spPr>
        </p:pic>
        <p:sp>
          <p:nvSpPr>
            <p:cNvPr id="35" name="Rectangle 34">
              <a:extLst>
                <a:ext uri="{FF2B5EF4-FFF2-40B4-BE49-F238E27FC236}">
                  <a16:creationId xmlns:a16="http://schemas.microsoft.com/office/drawing/2014/main" id="{6136A4E3-4C1E-9BE5-4F0C-E5A7EFD4CCC1}"/>
                </a:ext>
              </a:extLst>
            </p:cNvPr>
            <p:cNvSpPr/>
            <p:nvPr/>
          </p:nvSpPr>
          <p:spPr bwMode="auto">
            <a:xfrm>
              <a:off x="8831832" y="2372751"/>
              <a:ext cx="826615"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43B55331-BB16-CE4E-BBA8-C0EF1BBBAADE}"/>
                </a:ext>
              </a:extLst>
            </p:cNvPr>
            <p:cNvSpPr/>
            <p:nvPr/>
          </p:nvSpPr>
          <p:spPr bwMode="auto">
            <a:xfrm>
              <a:off x="9821594" y="2372751"/>
              <a:ext cx="826615"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9531C151-EECE-61AF-D367-3B8413F62639}"/>
                </a:ext>
              </a:extLst>
            </p:cNvPr>
            <p:cNvSpPr/>
            <p:nvPr/>
          </p:nvSpPr>
          <p:spPr bwMode="auto">
            <a:xfrm>
              <a:off x="10811356" y="2372750"/>
              <a:ext cx="826615"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083" name="TextBox 1082">
              <a:extLst>
                <a:ext uri="{FF2B5EF4-FFF2-40B4-BE49-F238E27FC236}">
                  <a16:creationId xmlns:a16="http://schemas.microsoft.com/office/drawing/2014/main" id="{EFEBC707-39E5-4884-1789-191B2276806B}"/>
                </a:ext>
              </a:extLst>
            </p:cNvPr>
            <p:cNvSpPr txBox="1"/>
            <p:nvPr/>
          </p:nvSpPr>
          <p:spPr>
            <a:xfrm>
              <a:off x="8831832" y="2139721"/>
              <a:ext cx="484107" cy="153888"/>
            </a:xfrm>
            <a:prstGeom prst="rect">
              <a:avLst/>
            </a:prstGeom>
            <a:noFill/>
          </p:spPr>
          <p:txBody>
            <a:bodyPr wrap="none" lIns="0" tIns="0" rIns="0" bIns="0" rtlCol="0">
              <a:spAutoFit/>
            </a:bodyPr>
            <a:lstStyle/>
            <a:p>
              <a:pPr algn="l"/>
              <a:r>
                <a:rPr lang="en-US" sz="1000" dirty="0"/>
                <a:t>Datasets</a:t>
              </a:r>
            </a:p>
          </p:txBody>
        </p:sp>
        <p:sp>
          <p:nvSpPr>
            <p:cNvPr id="1084" name="TextBox 1083">
              <a:extLst>
                <a:ext uri="{FF2B5EF4-FFF2-40B4-BE49-F238E27FC236}">
                  <a16:creationId xmlns:a16="http://schemas.microsoft.com/office/drawing/2014/main" id="{FFB455DF-0923-5063-AAF4-16D710EBD15F}"/>
                </a:ext>
              </a:extLst>
            </p:cNvPr>
            <p:cNvSpPr txBox="1"/>
            <p:nvPr/>
          </p:nvSpPr>
          <p:spPr>
            <a:xfrm>
              <a:off x="9830522" y="2144847"/>
              <a:ext cx="437620" cy="153888"/>
            </a:xfrm>
            <a:prstGeom prst="rect">
              <a:avLst/>
            </a:prstGeom>
            <a:noFill/>
          </p:spPr>
          <p:txBody>
            <a:bodyPr wrap="none" lIns="0" tIns="0" rIns="0" bIns="0" rtlCol="0">
              <a:spAutoFit/>
            </a:bodyPr>
            <a:lstStyle/>
            <a:p>
              <a:pPr algn="l"/>
              <a:r>
                <a:rPr lang="en-US" sz="1000" dirty="0"/>
                <a:t>Reports</a:t>
              </a:r>
            </a:p>
          </p:txBody>
        </p:sp>
        <p:sp>
          <p:nvSpPr>
            <p:cNvPr id="1085" name="TextBox 1084">
              <a:extLst>
                <a:ext uri="{FF2B5EF4-FFF2-40B4-BE49-F238E27FC236}">
                  <a16:creationId xmlns:a16="http://schemas.microsoft.com/office/drawing/2014/main" id="{D5108036-3534-D1A0-2A63-3381BFA3EF8C}"/>
                </a:ext>
              </a:extLst>
            </p:cNvPr>
            <p:cNvSpPr txBox="1"/>
            <p:nvPr/>
          </p:nvSpPr>
          <p:spPr>
            <a:xfrm>
              <a:off x="10811356" y="2141432"/>
              <a:ext cx="673261" cy="153888"/>
            </a:xfrm>
            <a:prstGeom prst="rect">
              <a:avLst/>
            </a:prstGeom>
            <a:noFill/>
          </p:spPr>
          <p:txBody>
            <a:bodyPr wrap="none" lIns="0" tIns="0" rIns="0" bIns="0" rtlCol="0">
              <a:spAutoFit/>
            </a:bodyPr>
            <a:lstStyle/>
            <a:p>
              <a:pPr algn="l"/>
              <a:r>
                <a:rPr lang="en-US" sz="1000" dirty="0"/>
                <a:t>Dashboards</a:t>
              </a:r>
            </a:p>
          </p:txBody>
        </p:sp>
        <p:cxnSp>
          <p:nvCxnSpPr>
            <p:cNvPr id="1088" name="Straight Arrow Connector 1087">
              <a:extLst>
                <a:ext uri="{FF2B5EF4-FFF2-40B4-BE49-F238E27FC236}">
                  <a16:creationId xmlns:a16="http://schemas.microsoft.com/office/drawing/2014/main" id="{562263A6-2525-4C7B-029E-632D56D62F49}"/>
                </a:ext>
              </a:extLst>
            </p:cNvPr>
            <p:cNvCxnSpPr>
              <a:cxnSpLocks/>
            </p:cNvCxnSpPr>
            <p:nvPr/>
          </p:nvCxnSpPr>
          <p:spPr>
            <a:xfrm>
              <a:off x="8546748" y="3221690"/>
              <a:ext cx="27873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90" name="Straight Arrow Connector 1089">
              <a:extLst>
                <a:ext uri="{FF2B5EF4-FFF2-40B4-BE49-F238E27FC236}">
                  <a16:creationId xmlns:a16="http://schemas.microsoft.com/office/drawing/2014/main" id="{5618173F-9F11-7729-B6D0-31885056851A}"/>
                </a:ext>
              </a:extLst>
            </p:cNvPr>
            <p:cNvCxnSpPr>
              <a:cxnSpLocks/>
            </p:cNvCxnSpPr>
            <p:nvPr/>
          </p:nvCxnSpPr>
          <p:spPr>
            <a:xfrm>
              <a:off x="8546748" y="4060047"/>
              <a:ext cx="27873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91" name="Straight Arrow Connector 1090">
              <a:extLst>
                <a:ext uri="{FF2B5EF4-FFF2-40B4-BE49-F238E27FC236}">
                  <a16:creationId xmlns:a16="http://schemas.microsoft.com/office/drawing/2014/main" id="{03D43DCA-0A80-4212-0831-0BD7545A566D}"/>
                </a:ext>
              </a:extLst>
            </p:cNvPr>
            <p:cNvCxnSpPr>
              <a:cxnSpLocks/>
            </p:cNvCxnSpPr>
            <p:nvPr/>
          </p:nvCxnSpPr>
          <p:spPr>
            <a:xfrm>
              <a:off x="8546748" y="5085245"/>
              <a:ext cx="27873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093" name="TextBox 1092">
            <a:extLst>
              <a:ext uri="{FF2B5EF4-FFF2-40B4-BE49-F238E27FC236}">
                <a16:creationId xmlns:a16="http://schemas.microsoft.com/office/drawing/2014/main" id="{CB7CC441-D60D-C019-036D-23CC4F23352F}"/>
              </a:ext>
            </a:extLst>
          </p:cNvPr>
          <p:cNvSpPr txBox="1"/>
          <p:nvPr/>
        </p:nvSpPr>
        <p:spPr>
          <a:xfrm>
            <a:off x="5737794" y="6038786"/>
            <a:ext cx="2475037" cy="307777"/>
          </a:xfrm>
          <a:prstGeom prst="rect">
            <a:avLst/>
          </a:prstGeom>
          <a:noFill/>
        </p:spPr>
        <p:txBody>
          <a:bodyPr wrap="none" lIns="0" tIns="0" rIns="0" bIns="0" rtlCol="0">
            <a:spAutoFit/>
          </a:bodyPr>
          <a:lstStyle/>
          <a:p>
            <a:pPr algn="l"/>
            <a:r>
              <a:rPr lang="en-US" sz="1000" dirty="0">
                <a:solidFill>
                  <a:schemeClr val="tx1">
                    <a:lumMod val="50000"/>
                    <a:lumOff val="50000"/>
                  </a:schemeClr>
                </a:solidFill>
              </a:rPr>
              <a:t>Assigned to your Power BI tenant</a:t>
            </a:r>
          </a:p>
          <a:p>
            <a:pPr algn="l"/>
            <a:r>
              <a:rPr lang="en-US" sz="1000" dirty="0">
                <a:solidFill>
                  <a:schemeClr val="tx1">
                    <a:lumMod val="50000"/>
                    <a:lumOff val="50000"/>
                  </a:schemeClr>
                </a:solidFill>
              </a:rPr>
              <a:t>or Bring Your Own Data Lake Gen2 (BYODL)</a:t>
            </a:r>
          </a:p>
        </p:txBody>
      </p:sp>
    </p:spTree>
    <p:extLst>
      <p:ext uri="{BB962C8B-B14F-4D97-AF65-F5344CB8AC3E}">
        <p14:creationId xmlns:p14="http://schemas.microsoft.com/office/powerpoint/2010/main" val="2306054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87"/>
                                        </p:tgtEl>
                                        <p:attrNameLst>
                                          <p:attrName>style.visibility</p:attrName>
                                        </p:attrNameLst>
                                      </p:cBhvr>
                                      <p:to>
                                        <p:strVal val="visible"/>
                                      </p:to>
                                    </p:set>
                                    <p:animEffect transition="in" filter="fade">
                                      <p:cBhvr>
                                        <p:cTn id="7" dur="1000"/>
                                        <p:tgtEl>
                                          <p:spTgt spid="1087"/>
                                        </p:tgtEl>
                                      </p:cBhvr>
                                    </p:animEffect>
                                    <p:anim calcmode="lin" valueType="num">
                                      <p:cBhvr>
                                        <p:cTn id="8" dur="1000" fill="hold"/>
                                        <p:tgtEl>
                                          <p:spTgt spid="1087"/>
                                        </p:tgtEl>
                                        <p:attrNameLst>
                                          <p:attrName>ppt_x</p:attrName>
                                        </p:attrNameLst>
                                      </p:cBhvr>
                                      <p:tavLst>
                                        <p:tav tm="0">
                                          <p:val>
                                            <p:strVal val="#ppt_x"/>
                                          </p:val>
                                        </p:tav>
                                        <p:tav tm="100000">
                                          <p:val>
                                            <p:strVal val="#ppt_x"/>
                                          </p:val>
                                        </p:tav>
                                      </p:tavLst>
                                    </p:anim>
                                    <p:anim calcmode="lin" valueType="num">
                                      <p:cBhvr>
                                        <p:cTn id="9" dur="1000" fill="hold"/>
                                        <p:tgtEl>
                                          <p:spTgt spid="108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86"/>
                                        </p:tgtEl>
                                        <p:attrNameLst>
                                          <p:attrName>style.visibility</p:attrName>
                                        </p:attrNameLst>
                                      </p:cBhvr>
                                      <p:to>
                                        <p:strVal val="visible"/>
                                      </p:to>
                                    </p:set>
                                    <p:animEffect transition="in" filter="fade">
                                      <p:cBhvr>
                                        <p:cTn id="14" dur="1000"/>
                                        <p:tgtEl>
                                          <p:spTgt spid="1086"/>
                                        </p:tgtEl>
                                      </p:cBhvr>
                                    </p:animEffect>
                                    <p:anim calcmode="lin" valueType="num">
                                      <p:cBhvr>
                                        <p:cTn id="15" dur="1000" fill="hold"/>
                                        <p:tgtEl>
                                          <p:spTgt spid="1086"/>
                                        </p:tgtEl>
                                        <p:attrNameLst>
                                          <p:attrName>ppt_x</p:attrName>
                                        </p:attrNameLst>
                                      </p:cBhvr>
                                      <p:tavLst>
                                        <p:tav tm="0">
                                          <p:val>
                                            <p:strVal val="#ppt_x"/>
                                          </p:val>
                                        </p:tav>
                                        <p:tav tm="100000">
                                          <p:val>
                                            <p:strVal val="#ppt_x"/>
                                          </p:val>
                                        </p:tav>
                                      </p:tavLst>
                                    </p:anim>
                                    <p:anim calcmode="lin" valueType="num">
                                      <p:cBhvr>
                                        <p:cTn id="16" dur="1000" fill="hold"/>
                                        <p:tgtEl>
                                          <p:spTgt spid="108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077"/>
                                        </p:tgtEl>
                                        <p:attrNameLst>
                                          <p:attrName>style.visibility</p:attrName>
                                        </p:attrNameLst>
                                      </p:cBhvr>
                                      <p:to>
                                        <p:strVal val="visible"/>
                                      </p:to>
                                    </p:set>
                                    <p:animEffect transition="in" filter="fade">
                                      <p:cBhvr>
                                        <p:cTn id="21" dur="1000"/>
                                        <p:tgtEl>
                                          <p:spTgt spid="1077"/>
                                        </p:tgtEl>
                                      </p:cBhvr>
                                    </p:animEffect>
                                    <p:anim calcmode="lin" valueType="num">
                                      <p:cBhvr>
                                        <p:cTn id="22" dur="1000" fill="hold"/>
                                        <p:tgtEl>
                                          <p:spTgt spid="1077"/>
                                        </p:tgtEl>
                                        <p:attrNameLst>
                                          <p:attrName>ppt_x</p:attrName>
                                        </p:attrNameLst>
                                      </p:cBhvr>
                                      <p:tavLst>
                                        <p:tav tm="0">
                                          <p:val>
                                            <p:strVal val="#ppt_x"/>
                                          </p:val>
                                        </p:tav>
                                        <p:tav tm="100000">
                                          <p:val>
                                            <p:strVal val="#ppt_x"/>
                                          </p:val>
                                        </p:tav>
                                      </p:tavLst>
                                    </p:anim>
                                    <p:anim calcmode="lin" valueType="num">
                                      <p:cBhvr>
                                        <p:cTn id="23" dur="1000" fill="hold"/>
                                        <p:tgtEl>
                                          <p:spTgt spid="107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92"/>
                                        </p:tgtEl>
                                        <p:attrNameLst>
                                          <p:attrName>style.visibility</p:attrName>
                                        </p:attrNameLst>
                                      </p:cBhvr>
                                      <p:to>
                                        <p:strVal val="visible"/>
                                      </p:to>
                                    </p:set>
                                    <p:animEffect transition="in" filter="fade">
                                      <p:cBhvr>
                                        <p:cTn id="28" dur="1000"/>
                                        <p:tgtEl>
                                          <p:spTgt spid="1092"/>
                                        </p:tgtEl>
                                      </p:cBhvr>
                                    </p:animEffect>
                                    <p:anim calcmode="lin" valueType="num">
                                      <p:cBhvr>
                                        <p:cTn id="29" dur="1000" fill="hold"/>
                                        <p:tgtEl>
                                          <p:spTgt spid="1092"/>
                                        </p:tgtEl>
                                        <p:attrNameLst>
                                          <p:attrName>ppt_x</p:attrName>
                                        </p:attrNameLst>
                                      </p:cBhvr>
                                      <p:tavLst>
                                        <p:tav tm="0">
                                          <p:val>
                                            <p:strVal val="#ppt_x"/>
                                          </p:val>
                                        </p:tav>
                                        <p:tav tm="100000">
                                          <p:val>
                                            <p:strVal val="#ppt_x"/>
                                          </p:val>
                                        </p:tav>
                                      </p:tavLst>
                                    </p:anim>
                                    <p:anim calcmode="lin" valueType="num">
                                      <p:cBhvr>
                                        <p:cTn id="30" dur="1000" fill="hold"/>
                                        <p:tgtEl>
                                          <p:spTgt spid="109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25468767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6783763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622369" y="3162006"/>
            <a:ext cx="11190150" cy="3348522"/>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637683" y="3761728"/>
            <a:ext cx="4757277" cy="1153087"/>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964424" y="3761728"/>
            <a:ext cx="567638" cy="1002296"/>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015045CC-9A8C-C42B-629A-8665AE652264}"/>
              </a:ext>
            </a:extLst>
          </p:cNvPr>
          <p:cNvSpPr/>
          <p:nvPr/>
        </p:nvSpPr>
        <p:spPr bwMode="auto">
          <a:xfrm>
            <a:off x="8550350" y="3761728"/>
            <a:ext cx="758242" cy="1934983"/>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8045840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371381936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142495682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31565037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9842787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413934680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87539523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370120343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ataflows</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1" y="1631427"/>
            <a:ext cx="6590040" cy="4845972"/>
          </a:xfrm>
        </p:spPr>
        <p:txBody>
          <a:bodyPr vert="horz" lIns="91428" tIns="45714" rIns="91428" bIns="45714" rtlCol="0" anchor="t">
            <a:normAutofit/>
          </a:bodyPr>
          <a:lstStyle/>
          <a:p>
            <a:pPr marL="466043" indent="-466043">
              <a:buFont typeface="+mj-lt"/>
              <a:buAutoNum type="arabicPeriod"/>
            </a:pPr>
            <a:r>
              <a:rPr lang="en-US" sz="2448" b="1" dirty="0">
                <a:gradFill>
                  <a:gsLst>
                    <a:gs pos="2917">
                      <a:srgbClr val="505050"/>
                    </a:gs>
                    <a:gs pos="30000">
                      <a:srgbClr val="505050"/>
                    </a:gs>
                  </a:gsLst>
                  <a:lin ang="5400000" scaled="0"/>
                </a:gradFill>
                <a:latin typeface="Segoe UI"/>
              </a:rPr>
              <a:t>Advantages</a:t>
            </a:r>
            <a:endParaRPr lang="en-US" dirty="0"/>
          </a:p>
          <a:p>
            <a:pPr marL="699065" lvl="1" indent="-233022"/>
            <a:r>
              <a:rPr lang="en-US" sz="1800" dirty="0">
                <a:gradFill>
                  <a:gsLst>
                    <a:gs pos="2917">
                      <a:srgbClr val="505050"/>
                    </a:gs>
                    <a:gs pos="30000">
                      <a:srgbClr val="505050"/>
                    </a:gs>
                  </a:gsLst>
                  <a:lin ang="5400000" scaled="0"/>
                </a:gradFill>
                <a:latin typeface="Segoe UI"/>
              </a:rPr>
              <a:t>Creates a single source of truth (Endorsements)</a:t>
            </a:r>
          </a:p>
          <a:p>
            <a:pPr marL="699065" lvl="1" indent="-233022"/>
            <a:r>
              <a:rPr lang="en-US" sz="1800" dirty="0">
                <a:gradFill>
                  <a:gsLst>
                    <a:gs pos="2917">
                      <a:srgbClr val="505050"/>
                    </a:gs>
                    <a:gs pos="30000">
                      <a:srgbClr val="505050"/>
                    </a:gs>
                  </a:gsLst>
                  <a:lin ang="5400000" scaled="0"/>
                </a:gradFill>
                <a:latin typeface="Segoe UI"/>
              </a:rPr>
              <a:t>Reduces load at the source by copying the data once and then sharing broadly</a:t>
            </a:r>
          </a:p>
          <a:p>
            <a:pPr marL="699065" lvl="1" indent="-233022"/>
            <a:r>
              <a:rPr lang="en-US" sz="1800" dirty="0">
                <a:gradFill>
                  <a:gsLst>
                    <a:gs pos="2917">
                      <a:srgbClr val="505050"/>
                    </a:gs>
                    <a:gs pos="30000">
                      <a:srgbClr val="505050"/>
                    </a:gs>
                  </a:gsLst>
                  <a:lin ang="5400000" scaled="0"/>
                </a:gradFill>
                <a:latin typeface="Segoe UI"/>
              </a:rPr>
              <a:t>Protects the underlying data sources from direct access</a:t>
            </a:r>
          </a:p>
          <a:p>
            <a:pPr marL="699065" lvl="1" indent="-233022"/>
            <a:r>
              <a:rPr lang="en-US" sz="1800" dirty="0">
                <a:gradFill>
                  <a:gsLst>
                    <a:gs pos="2917">
                      <a:srgbClr val="505050"/>
                    </a:gs>
                    <a:gs pos="30000">
                      <a:srgbClr val="505050"/>
                    </a:gs>
                  </a:gsLst>
                  <a:lin ang="5400000" scaled="0"/>
                </a:gradFill>
                <a:latin typeface="Segoe UI"/>
              </a:rPr>
              <a:t>Allows a direct connection within Excel</a:t>
            </a:r>
          </a:p>
          <a:p>
            <a:pPr marL="699065" lvl="1" indent="-233022"/>
            <a:endParaRPr lang="en-US" sz="1800" dirty="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dirty="0">
                <a:gradFill>
                  <a:gsLst>
                    <a:gs pos="2917">
                      <a:srgbClr val="505050"/>
                    </a:gs>
                    <a:gs pos="30000">
                      <a:srgbClr val="505050"/>
                    </a:gs>
                  </a:gsLst>
                  <a:lin ang="5400000" scaled="0"/>
                </a:gradFill>
                <a:latin typeface="Segoe UI"/>
              </a:rPr>
              <a:t>Disadvantages</a:t>
            </a:r>
            <a:endParaRPr lang="en-US" sz="2448" b="1" dirty="0">
              <a:gradFill>
                <a:gsLst>
                  <a:gs pos="2917">
                    <a:srgbClr val="505050"/>
                  </a:gs>
                  <a:gs pos="30000">
                    <a:srgbClr val="505050"/>
                  </a:gs>
                </a:gsLst>
                <a:lin ang="5400000" scaled="0"/>
              </a:gradFill>
              <a:latin typeface="Segoe UI"/>
              <a:cs typeface="Segoe UI"/>
            </a:endParaRPr>
          </a:p>
          <a:p>
            <a:pPr marL="699065" lvl="1" indent="-233022"/>
            <a:r>
              <a:rPr lang="en-US" sz="1800" dirty="0">
                <a:gradFill>
                  <a:gsLst>
                    <a:gs pos="2917">
                      <a:srgbClr val="505050"/>
                    </a:gs>
                    <a:gs pos="30000">
                      <a:srgbClr val="505050"/>
                    </a:gs>
                  </a:gsLst>
                  <a:lin ang="5400000" scaled="0"/>
                </a:gradFill>
                <a:latin typeface="Segoe UI"/>
              </a:rPr>
              <a:t>Cloud-only development</a:t>
            </a:r>
          </a:p>
          <a:p>
            <a:pPr marL="699065" lvl="1" indent="-233022"/>
            <a:r>
              <a:rPr lang="en-US" sz="1800" dirty="0">
                <a:gradFill>
                  <a:gsLst>
                    <a:gs pos="2917">
                      <a:srgbClr val="505050"/>
                    </a:gs>
                    <a:gs pos="30000">
                      <a:srgbClr val="505050"/>
                    </a:gs>
                  </a:gsLst>
                  <a:lin ang="5400000" scaled="0"/>
                </a:gradFill>
                <a:latin typeface="Segoe UI"/>
              </a:rPr>
              <a:t>Lacks multi-author editing/auditing features</a:t>
            </a:r>
          </a:p>
          <a:p>
            <a:pPr marL="699065" lvl="1" indent="-233022"/>
            <a:r>
              <a:rPr lang="en-US" sz="1800" dirty="0">
                <a:gradFill>
                  <a:gsLst>
                    <a:gs pos="2917">
                      <a:srgbClr val="505050"/>
                    </a:gs>
                    <a:gs pos="30000">
                      <a:srgbClr val="505050"/>
                    </a:gs>
                  </a:gsLst>
                  <a:lin ang="5400000" scaled="0"/>
                </a:gradFill>
                <a:latin typeface="Segoe UI"/>
              </a:rPr>
              <a:t>Lacks parameter editing post-authoring</a:t>
            </a:r>
          </a:p>
        </p:txBody>
      </p:sp>
      <p:pic>
        <p:nvPicPr>
          <p:cNvPr id="7" name="Graphic 6">
            <a:extLst>
              <a:ext uri="{FF2B5EF4-FFF2-40B4-BE49-F238E27FC236}">
                <a16:creationId xmlns:a16="http://schemas.microsoft.com/office/drawing/2014/main" id="{66CE50B9-0EB0-A611-6485-84B4B996A7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2040" y="1808559"/>
            <a:ext cx="3528102" cy="4032114"/>
          </a:xfrm>
          <a:prstGeom prst="rect">
            <a:avLst/>
          </a:prstGeom>
        </p:spPr>
      </p:pic>
    </p:spTree>
    <p:extLst>
      <p:ext uri="{BB962C8B-B14F-4D97-AF65-F5344CB8AC3E}">
        <p14:creationId xmlns:p14="http://schemas.microsoft.com/office/powerpoint/2010/main" val="40047433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119913423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361113142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5057721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76587516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592738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218288357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44141135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20581393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88963623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AADEFE3-F834-052F-AF0C-36FD39E68470}"/>
              </a:ext>
            </a:extLst>
          </p:cNvPr>
          <p:cNvSpPr txBox="1">
            <a:spLocks/>
          </p:cNvSpPr>
          <p:nvPr/>
        </p:nvSpPr>
        <p:spPr>
          <a:xfrm>
            <a:off x="1751577" y="901328"/>
            <a:ext cx="9049921" cy="2464136"/>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pPr algn="ctr"/>
            <a:r>
              <a:rPr lang="en-US" dirty="0">
                <a:solidFill>
                  <a:schemeClr val="bg1">
                    <a:lumMod val="65000"/>
                  </a:schemeClr>
                </a:solidFill>
              </a:rPr>
              <a:t>No premium? No problem!</a:t>
            </a:r>
          </a:p>
          <a:p>
            <a:pPr algn="ctr"/>
            <a:endParaRPr lang="en-US" dirty="0">
              <a:solidFill>
                <a:schemeClr val="bg1">
                  <a:lumMod val="65000"/>
                </a:schemeClr>
              </a:solidFill>
            </a:endParaRPr>
          </a:p>
          <a:p>
            <a:pPr algn="ctr"/>
            <a:r>
              <a:rPr lang="en-US" dirty="0">
                <a:solidFill>
                  <a:schemeClr val="bg1">
                    <a:lumMod val="65000"/>
                  </a:schemeClr>
                </a:solidFill>
              </a:rPr>
              <a:t>Submit the form below and we’ll share a trial profile and Premium Per User license for the day.</a:t>
            </a:r>
          </a:p>
          <a:p>
            <a:pPr algn="ctr"/>
            <a:endParaRPr lang="en-US" dirty="0">
              <a:solidFill>
                <a:schemeClr val="bg1">
                  <a:lumMod val="65000"/>
                </a:schemeClr>
              </a:solidFill>
            </a:endParaRPr>
          </a:p>
          <a:p>
            <a:pPr algn="ctr"/>
            <a:r>
              <a:rPr lang="en-US" sz="3600" dirty="0"/>
              <a:t>https://aka.ms/insert_link</a:t>
            </a:r>
          </a:p>
        </p:txBody>
      </p:sp>
      <p:cxnSp>
        <p:nvCxnSpPr>
          <p:cNvPr id="6" name="Straight Connector 5">
            <a:extLst>
              <a:ext uri="{FF2B5EF4-FFF2-40B4-BE49-F238E27FC236}">
                <a16:creationId xmlns:a16="http://schemas.microsoft.com/office/drawing/2014/main" id="{4CB7DC4D-ABEA-EF64-35B6-9731FB6DB9E5}"/>
              </a:ext>
            </a:extLst>
          </p:cNvPr>
          <p:cNvCxnSpPr>
            <a:cxnSpLocks/>
          </p:cNvCxnSpPr>
          <p:nvPr/>
        </p:nvCxnSpPr>
        <p:spPr>
          <a:xfrm>
            <a:off x="1467731" y="3903128"/>
            <a:ext cx="961761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A18972E8-BCF3-0341-00A6-CF7F048883BB}"/>
              </a:ext>
            </a:extLst>
          </p:cNvPr>
          <p:cNvSpPr>
            <a:spLocks noGrp="1"/>
          </p:cNvSpPr>
          <p:nvPr>
            <p:ph type="title"/>
          </p:nvPr>
        </p:nvSpPr>
        <p:spPr>
          <a:xfrm>
            <a:off x="1750257" y="4440792"/>
            <a:ext cx="9052560" cy="1643399"/>
          </a:xfrm>
        </p:spPr>
        <p:txBody>
          <a:bodyPr/>
          <a:lstStyle/>
          <a:p>
            <a:pPr algn="ctr"/>
            <a:r>
              <a:rPr lang="en-US" dirty="0">
                <a:solidFill>
                  <a:schemeClr val="bg1">
                    <a:lumMod val="65000"/>
                  </a:schemeClr>
                </a:solidFill>
              </a:rPr>
              <a:t>All workshop materials available at:</a:t>
            </a:r>
            <a:br>
              <a:rPr lang="en-US" dirty="0">
                <a:solidFill>
                  <a:schemeClr val="bg1">
                    <a:lumMod val="65000"/>
                  </a:schemeClr>
                </a:solidFill>
              </a:rPr>
            </a:br>
            <a:r>
              <a:rPr lang="en-US" sz="3600" dirty="0"/>
              <a:t>https://aka.ms/pbiworkshops</a:t>
            </a:r>
            <a:br>
              <a:rPr lang="en-US" sz="3600" dirty="0"/>
            </a:br>
            <a:br>
              <a:rPr lang="en-US" sz="3600" dirty="0"/>
            </a:br>
            <a:r>
              <a:rPr lang="en-US" sz="3600" dirty="0">
                <a:solidFill>
                  <a:schemeClr val="bg1">
                    <a:lumMod val="65000"/>
                  </a:schemeClr>
                </a:solidFill>
              </a:rPr>
              <a:t>Folder: </a:t>
            </a:r>
            <a:r>
              <a:rPr lang="en-US" sz="3600" dirty="0">
                <a:solidFill>
                  <a:schemeClr val="tx1"/>
                </a:solidFill>
              </a:rPr>
              <a:t>Day After Dashboard in a Day</a:t>
            </a:r>
            <a:endParaRPr lang="en-US" dirty="0">
              <a:solidFill>
                <a:schemeClr val="bg1">
                  <a:lumMod val="65000"/>
                </a:schemeClr>
              </a:solidFill>
            </a:endParaRPr>
          </a:p>
        </p:txBody>
      </p:sp>
    </p:spTree>
    <p:extLst>
      <p:ext uri="{BB962C8B-B14F-4D97-AF65-F5344CB8AC3E}">
        <p14:creationId xmlns:p14="http://schemas.microsoft.com/office/powerpoint/2010/main" val="302026629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Graphic 59" descr="Database outline">
            <a:extLst>
              <a:ext uri="{FF2B5EF4-FFF2-40B4-BE49-F238E27FC236}">
                <a16:creationId xmlns:a16="http://schemas.microsoft.com/office/drawing/2014/main" id="{773A50FC-1B9A-E986-C9EA-5667BF760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1285" y="2592245"/>
            <a:ext cx="1638245" cy="1638245"/>
          </a:xfrm>
          <a:prstGeom prst="rect">
            <a:avLst/>
          </a:prstGeom>
        </p:spPr>
      </p:pic>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Computed Tables</a:t>
            </a:r>
          </a:p>
        </p:txBody>
      </p:sp>
      <p:sp>
        <p:nvSpPr>
          <p:cNvPr id="4" name="TextBox 3">
            <a:extLst>
              <a:ext uri="{FF2B5EF4-FFF2-40B4-BE49-F238E27FC236}">
                <a16:creationId xmlns:a16="http://schemas.microsoft.com/office/drawing/2014/main" id="{D4917F3F-DCCF-4C8F-B2BF-8DFC2DD1037A}"/>
              </a:ext>
            </a:extLst>
          </p:cNvPr>
          <p:cNvSpPr txBox="1"/>
          <p:nvPr/>
        </p:nvSpPr>
        <p:spPr>
          <a:xfrm>
            <a:off x="374185" y="2318425"/>
            <a:ext cx="2929036" cy="2769989"/>
          </a:xfrm>
          <a:prstGeom prst="rect">
            <a:avLst/>
          </a:prstGeom>
          <a:noFill/>
        </p:spPr>
        <p:txBody>
          <a:bodyPr wrap="square" lIns="0" tIns="0" rIns="0" bIns="0" rtlCol="0" anchor="t">
            <a:spAutoFit/>
          </a:bodyPr>
          <a:lstStyle/>
          <a:p>
            <a:r>
              <a:rPr lang="en-US" sz="1400" dirty="0">
                <a:solidFill>
                  <a:srgbClr val="171717"/>
                </a:solidFill>
                <a:latin typeface="Segoe UI"/>
                <a:cs typeface="Segoe UI"/>
              </a:rPr>
              <a:t>The enhanced compute engine in Power BI enables Power BI Premium subscribers to use their capacity to optimize the use of dataflows. </a:t>
            </a:r>
          </a:p>
          <a:p>
            <a:endParaRPr lang="en-US" sz="1200" dirty="0">
              <a:solidFill>
                <a:srgbClr val="171717"/>
              </a:solidFill>
              <a:latin typeface="Segoe UI"/>
              <a:cs typeface="Segoe UI"/>
            </a:endParaRPr>
          </a:p>
          <a:p>
            <a:pPr marL="228600" indent="-228600">
              <a:buFont typeface="+mj-lt"/>
              <a:buAutoNum type="arabicPeriod"/>
            </a:pPr>
            <a:r>
              <a:rPr lang="en-US" sz="1400" dirty="0">
                <a:gradFill>
                  <a:gsLst>
                    <a:gs pos="2917">
                      <a:srgbClr val="505050"/>
                    </a:gs>
                    <a:gs pos="30000">
                      <a:srgbClr val="505050"/>
                    </a:gs>
                  </a:gsLst>
                  <a:lin ang="5400000" scaled="0"/>
                </a:gradFill>
                <a:latin typeface="Segoe UI"/>
              </a:rPr>
              <a:t>Connect to your data and create a reference query to use the lake storage.</a:t>
            </a:r>
          </a:p>
          <a:p>
            <a:pPr marL="228600" indent="-228600">
              <a:buFont typeface="+mj-lt"/>
              <a:buAutoNum type="arabicPeriod"/>
            </a:pPr>
            <a:endParaRPr lang="en-US" sz="1400" dirty="0">
              <a:gradFill>
                <a:gsLst>
                  <a:gs pos="2917">
                    <a:srgbClr val="505050"/>
                  </a:gs>
                  <a:gs pos="30000">
                    <a:srgbClr val="505050"/>
                  </a:gs>
                </a:gsLst>
                <a:lin ang="5400000" scaled="0"/>
              </a:gradFill>
              <a:latin typeface="Segoe UI"/>
            </a:endParaRPr>
          </a:p>
          <a:p>
            <a:pPr marL="228600" indent="-228600">
              <a:buFont typeface="+mj-lt"/>
              <a:buAutoNum type="arabicPeriod"/>
            </a:pPr>
            <a:r>
              <a:rPr lang="en-US" sz="1400" dirty="0">
                <a:gradFill>
                  <a:gsLst>
                    <a:gs pos="2917">
                      <a:srgbClr val="505050"/>
                    </a:gs>
                    <a:gs pos="30000">
                      <a:srgbClr val="505050"/>
                    </a:gs>
                  </a:gsLst>
                  <a:lin ang="5400000" scaled="0"/>
                </a:gradFill>
                <a:latin typeface="Segoe UI"/>
              </a:rPr>
              <a:t>Apply transformation steps to the computed table for complex ETL operations such as joins, </a:t>
            </a:r>
            <a:r>
              <a:rPr lang="en-US" sz="1400" dirty="0" err="1">
                <a:gradFill>
                  <a:gsLst>
                    <a:gs pos="2917">
                      <a:srgbClr val="505050"/>
                    </a:gs>
                    <a:gs pos="30000">
                      <a:srgbClr val="505050"/>
                    </a:gs>
                  </a:gsLst>
                  <a:lin ang="5400000" scaled="0"/>
                </a:gradFill>
                <a:latin typeface="Segoe UI"/>
              </a:rPr>
              <a:t>distincts</a:t>
            </a:r>
            <a:r>
              <a:rPr lang="en-US" sz="1400" dirty="0">
                <a:gradFill>
                  <a:gsLst>
                    <a:gs pos="2917">
                      <a:srgbClr val="505050"/>
                    </a:gs>
                    <a:gs pos="30000">
                      <a:srgbClr val="505050"/>
                    </a:gs>
                  </a:gsLst>
                  <a:lin ang="5400000" scaled="0"/>
                </a:gradFill>
                <a:latin typeface="Segoe UI"/>
              </a:rPr>
              <a:t>, filters and group </a:t>
            </a:r>
            <a:r>
              <a:rPr lang="en-US" sz="1400" dirty="0" err="1">
                <a:gradFill>
                  <a:gsLst>
                    <a:gs pos="2917">
                      <a:srgbClr val="505050"/>
                    </a:gs>
                    <a:gs pos="30000">
                      <a:srgbClr val="505050"/>
                    </a:gs>
                  </a:gsLst>
                  <a:lin ang="5400000" scaled="0"/>
                </a:gradFill>
                <a:latin typeface="Segoe UI"/>
              </a:rPr>
              <a:t>bys</a:t>
            </a:r>
            <a:r>
              <a:rPr lang="en-US" sz="1400" dirty="0">
                <a:gradFill>
                  <a:gsLst>
                    <a:gs pos="2917">
                      <a:srgbClr val="505050"/>
                    </a:gs>
                    <a:gs pos="30000">
                      <a:srgbClr val="505050"/>
                    </a:gs>
                  </a:gsLst>
                  <a:lin ang="5400000" scaled="0"/>
                </a:gradFill>
                <a:latin typeface="Segoe UI"/>
              </a:rPr>
              <a:t>.</a:t>
            </a:r>
          </a:p>
        </p:txBody>
      </p:sp>
      <p:pic>
        <p:nvPicPr>
          <p:cNvPr id="16" name="Graphic 15" descr="Database outline">
            <a:extLst>
              <a:ext uri="{FF2B5EF4-FFF2-40B4-BE49-F238E27FC236}">
                <a16:creationId xmlns:a16="http://schemas.microsoft.com/office/drawing/2014/main" id="{1E6952E8-DE27-5791-99CA-4358D3D071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740" y="4836237"/>
            <a:ext cx="1220152" cy="1220152"/>
          </a:xfrm>
          <a:prstGeom prst="rect">
            <a:avLst/>
          </a:prstGeom>
        </p:spPr>
      </p:pic>
      <p:grpSp>
        <p:nvGrpSpPr>
          <p:cNvPr id="29" name="Group 28">
            <a:extLst>
              <a:ext uri="{FF2B5EF4-FFF2-40B4-BE49-F238E27FC236}">
                <a16:creationId xmlns:a16="http://schemas.microsoft.com/office/drawing/2014/main" id="{A1B0A015-0EFC-647F-840D-96CA97BA38B1}"/>
              </a:ext>
            </a:extLst>
          </p:cNvPr>
          <p:cNvGrpSpPr/>
          <p:nvPr/>
        </p:nvGrpSpPr>
        <p:grpSpPr>
          <a:xfrm>
            <a:off x="3588149" y="3477132"/>
            <a:ext cx="914400" cy="1205506"/>
            <a:chOff x="3617222" y="5150050"/>
            <a:chExt cx="914400" cy="1205506"/>
          </a:xfrm>
        </p:grpSpPr>
        <p:pic>
          <p:nvPicPr>
            <p:cNvPr id="13" name="Graphic 12" descr="Open folder outline">
              <a:extLst>
                <a:ext uri="{FF2B5EF4-FFF2-40B4-BE49-F238E27FC236}">
                  <a16:creationId xmlns:a16="http://schemas.microsoft.com/office/drawing/2014/main" id="{54E61980-228D-7894-3958-08650C6FD8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17222" y="5150050"/>
              <a:ext cx="914400" cy="914400"/>
            </a:xfrm>
            <a:prstGeom prst="rect">
              <a:avLst/>
            </a:prstGeom>
          </p:spPr>
        </p:pic>
        <p:pic>
          <p:nvPicPr>
            <p:cNvPr id="15" name="Graphic 14" descr="Document outline">
              <a:extLst>
                <a:ext uri="{FF2B5EF4-FFF2-40B4-BE49-F238E27FC236}">
                  <a16:creationId xmlns:a16="http://schemas.microsoft.com/office/drawing/2014/main" id="{0FEAB499-D54C-F5F7-FAE8-21472AD933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7222" y="5894252"/>
              <a:ext cx="461304" cy="461304"/>
            </a:xfrm>
            <a:prstGeom prst="rect">
              <a:avLst/>
            </a:prstGeom>
          </p:spPr>
        </p:pic>
        <p:pic>
          <p:nvPicPr>
            <p:cNvPr id="17" name="Graphic 16" descr="Document outline">
              <a:extLst>
                <a:ext uri="{FF2B5EF4-FFF2-40B4-BE49-F238E27FC236}">
                  <a16:creationId xmlns:a16="http://schemas.microsoft.com/office/drawing/2014/main" id="{3BBEB372-A8C9-31D2-E159-3F19E0EB56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3485" y="5894252"/>
              <a:ext cx="461304" cy="461304"/>
            </a:xfrm>
            <a:prstGeom prst="rect">
              <a:avLst/>
            </a:prstGeom>
          </p:spPr>
        </p:pic>
      </p:grpSp>
      <p:sp>
        <p:nvSpPr>
          <p:cNvPr id="19" name="Rectangle 18">
            <a:extLst>
              <a:ext uri="{FF2B5EF4-FFF2-40B4-BE49-F238E27FC236}">
                <a16:creationId xmlns:a16="http://schemas.microsoft.com/office/drawing/2014/main" id="{C9E4195A-C6CD-3E76-EE13-C54500180E68}"/>
              </a:ext>
            </a:extLst>
          </p:cNvPr>
          <p:cNvSpPr/>
          <p:nvPr/>
        </p:nvSpPr>
        <p:spPr bwMode="auto">
          <a:xfrm>
            <a:off x="5737792" y="2372751"/>
            <a:ext cx="5687128"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31" name="Straight Arrow Connector 30">
            <a:extLst>
              <a:ext uri="{FF2B5EF4-FFF2-40B4-BE49-F238E27FC236}">
                <a16:creationId xmlns:a16="http://schemas.microsoft.com/office/drawing/2014/main" id="{5398892E-3E61-156B-1211-00B5B6034393}"/>
              </a:ext>
            </a:extLst>
          </p:cNvPr>
          <p:cNvCxnSpPr>
            <a:cxnSpLocks/>
          </p:cNvCxnSpPr>
          <p:nvPr/>
        </p:nvCxnSpPr>
        <p:spPr>
          <a:xfrm>
            <a:off x="4618892" y="2909723"/>
            <a:ext cx="101287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276025C-24CB-287C-FF1E-4E1944DFA491}"/>
              </a:ext>
            </a:extLst>
          </p:cNvPr>
          <p:cNvCxnSpPr>
            <a:cxnSpLocks/>
          </p:cNvCxnSpPr>
          <p:nvPr/>
        </p:nvCxnSpPr>
        <p:spPr>
          <a:xfrm>
            <a:off x="4502549" y="5479194"/>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700C7F-CDCE-F30C-3880-AD7B5A2F1668}"/>
              </a:ext>
            </a:extLst>
          </p:cNvPr>
          <p:cNvCxnSpPr>
            <a:cxnSpLocks/>
          </p:cNvCxnSpPr>
          <p:nvPr/>
        </p:nvCxnSpPr>
        <p:spPr>
          <a:xfrm>
            <a:off x="4502549" y="4130031"/>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78" name="TextBox 1077">
            <a:extLst>
              <a:ext uri="{FF2B5EF4-FFF2-40B4-BE49-F238E27FC236}">
                <a16:creationId xmlns:a16="http://schemas.microsoft.com/office/drawing/2014/main" id="{AF931C37-F8DF-7B0C-75F9-C112210F1DF5}"/>
              </a:ext>
            </a:extLst>
          </p:cNvPr>
          <p:cNvSpPr txBox="1"/>
          <p:nvPr/>
        </p:nvSpPr>
        <p:spPr>
          <a:xfrm>
            <a:off x="5740299" y="2139721"/>
            <a:ext cx="1726435" cy="153888"/>
          </a:xfrm>
          <a:prstGeom prst="rect">
            <a:avLst/>
          </a:prstGeom>
          <a:noFill/>
        </p:spPr>
        <p:txBody>
          <a:bodyPr wrap="none" lIns="0" tIns="0" rIns="0" bIns="0" rtlCol="0">
            <a:spAutoFit/>
          </a:bodyPr>
          <a:lstStyle/>
          <a:p>
            <a:pPr algn="l"/>
            <a:r>
              <a:rPr lang="en-US" sz="1000" dirty="0"/>
              <a:t>Azure Data Lake Gen2 Storage</a:t>
            </a:r>
          </a:p>
        </p:txBody>
      </p:sp>
      <p:pic>
        <p:nvPicPr>
          <p:cNvPr id="1080" name="Graphic 1079" descr="Cloud outline">
            <a:extLst>
              <a:ext uri="{FF2B5EF4-FFF2-40B4-BE49-F238E27FC236}">
                <a16:creationId xmlns:a16="http://schemas.microsoft.com/office/drawing/2014/main" id="{5B3D5640-0948-E72B-3C86-4EBC75F1B7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5498" y="2269845"/>
            <a:ext cx="1186862" cy="1186862"/>
          </a:xfrm>
          <a:prstGeom prst="rect">
            <a:avLst/>
          </a:prstGeom>
        </p:spPr>
      </p:pic>
      <p:sp>
        <p:nvSpPr>
          <p:cNvPr id="1093" name="TextBox 1092">
            <a:extLst>
              <a:ext uri="{FF2B5EF4-FFF2-40B4-BE49-F238E27FC236}">
                <a16:creationId xmlns:a16="http://schemas.microsoft.com/office/drawing/2014/main" id="{CB7CC441-D60D-C019-036D-23CC4F23352F}"/>
              </a:ext>
            </a:extLst>
          </p:cNvPr>
          <p:cNvSpPr txBox="1"/>
          <p:nvPr/>
        </p:nvSpPr>
        <p:spPr>
          <a:xfrm>
            <a:off x="5737794" y="6038786"/>
            <a:ext cx="2475037" cy="307777"/>
          </a:xfrm>
          <a:prstGeom prst="rect">
            <a:avLst/>
          </a:prstGeom>
          <a:noFill/>
        </p:spPr>
        <p:txBody>
          <a:bodyPr wrap="none" lIns="0" tIns="0" rIns="0" bIns="0" rtlCol="0">
            <a:spAutoFit/>
          </a:bodyPr>
          <a:lstStyle/>
          <a:p>
            <a:pPr algn="l"/>
            <a:r>
              <a:rPr lang="en-US" sz="1000" dirty="0">
                <a:solidFill>
                  <a:schemeClr val="tx1">
                    <a:lumMod val="50000"/>
                    <a:lumOff val="50000"/>
                  </a:schemeClr>
                </a:solidFill>
              </a:rPr>
              <a:t>Assigned to your Power BI tenant</a:t>
            </a:r>
          </a:p>
          <a:p>
            <a:pPr algn="l"/>
            <a:r>
              <a:rPr lang="en-US" sz="1000" dirty="0">
                <a:solidFill>
                  <a:schemeClr val="tx1">
                    <a:lumMod val="50000"/>
                    <a:lumOff val="50000"/>
                  </a:schemeClr>
                </a:solidFill>
              </a:rPr>
              <a:t>or Bring Your Own Data Lake Gen2 (BYODL)</a:t>
            </a:r>
          </a:p>
        </p:txBody>
      </p:sp>
      <p:pic>
        <p:nvPicPr>
          <p:cNvPr id="8" name="Graphic 7">
            <a:extLst>
              <a:ext uri="{FF2B5EF4-FFF2-40B4-BE49-F238E27FC236}">
                <a16:creationId xmlns:a16="http://schemas.microsoft.com/office/drawing/2014/main" id="{600F87CA-4F82-43D6-AA46-02F38CB23A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87818" y="4750717"/>
            <a:ext cx="850025" cy="850025"/>
          </a:xfrm>
          <a:prstGeom prst="rect">
            <a:avLst/>
          </a:prstGeom>
        </p:spPr>
      </p:pic>
      <p:pic>
        <p:nvPicPr>
          <p:cNvPr id="9" name="Graphic 8">
            <a:extLst>
              <a:ext uri="{FF2B5EF4-FFF2-40B4-BE49-F238E27FC236}">
                <a16:creationId xmlns:a16="http://schemas.microsoft.com/office/drawing/2014/main" id="{8F58B164-EEDE-109E-286B-B06A502EA0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54800" y="4750718"/>
            <a:ext cx="850025" cy="850025"/>
          </a:xfrm>
          <a:prstGeom prst="rect">
            <a:avLst/>
          </a:prstGeom>
        </p:spPr>
      </p:pic>
      <p:pic>
        <p:nvPicPr>
          <p:cNvPr id="10" name="Graphic 9">
            <a:extLst>
              <a:ext uri="{FF2B5EF4-FFF2-40B4-BE49-F238E27FC236}">
                <a16:creationId xmlns:a16="http://schemas.microsoft.com/office/drawing/2014/main" id="{C45F612D-E9AD-88DE-218F-755280C3319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1309" y="4750718"/>
            <a:ext cx="850025" cy="850025"/>
          </a:xfrm>
          <a:prstGeom prst="rect">
            <a:avLst/>
          </a:prstGeom>
        </p:spPr>
      </p:pic>
      <p:cxnSp>
        <p:nvCxnSpPr>
          <p:cNvPr id="12" name="Straight Connector 11">
            <a:extLst>
              <a:ext uri="{FF2B5EF4-FFF2-40B4-BE49-F238E27FC236}">
                <a16:creationId xmlns:a16="http://schemas.microsoft.com/office/drawing/2014/main" id="{C6F81F86-8BD9-A180-E5E7-269ABDF0FC0A}"/>
              </a:ext>
            </a:extLst>
          </p:cNvPr>
          <p:cNvCxnSpPr>
            <a:cxnSpLocks/>
          </p:cNvCxnSpPr>
          <p:nvPr/>
        </p:nvCxnSpPr>
        <p:spPr>
          <a:xfrm>
            <a:off x="5973980" y="4611518"/>
            <a:ext cx="51817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3834409F-E16E-200F-FE8E-2FA31D870E53}"/>
              </a:ext>
            </a:extLst>
          </p:cNvPr>
          <p:cNvGrpSpPr/>
          <p:nvPr/>
        </p:nvGrpSpPr>
        <p:grpSpPr>
          <a:xfrm>
            <a:off x="8555301" y="3529729"/>
            <a:ext cx="1018357" cy="857487"/>
            <a:chOff x="9756744" y="4814375"/>
            <a:chExt cx="1018357" cy="857487"/>
          </a:xfrm>
        </p:grpSpPr>
        <p:pic>
          <p:nvPicPr>
            <p:cNvPr id="25" name="Graphic 24">
              <a:extLst>
                <a:ext uri="{FF2B5EF4-FFF2-40B4-BE49-F238E27FC236}">
                  <a16:creationId xmlns:a16="http://schemas.microsoft.com/office/drawing/2014/main" id="{F7A16294-0E94-ED1C-C98D-502549DDC6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756744" y="4814375"/>
              <a:ext cx="850025" cy="850025"/>
            </a:xfrm>
            <a:prstGeom prst="rect">
              <a:avLst/>
            </a:prstGeom>
          </p:spPr>
        </p:pic>
        <p:pic>
          <p:nvPicPr>
            <p:cNvPr id="22" name="Graphic 21">
              <a:extLst>
                <a:ext uri="{FF2B5EF4-FFF2-40B4-BE49-F238E27FC236}">
                  <a16:creationId xmlns:a16="http://schemas.microsoft.com/office/drawing/2014/main" id="{7FEA1831-9D96-9CF7-9DE5-BEBDE62C961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27661" y="5051099"/>
              <a:ext cx="447440" cy="620763"/>
            </a:xfrm>
            <a:prstGeom prst="rect">
              <a:avLst/>
            </a:prstGeom>
          </p:spPr>
        </p:pic>
      </p:grpSp>
      <p:sp>
        <p:nvSpPr>
          <p:cNvPr id="1029" name="TextBox 1028">
            <a:extLst>
              <a:ext uri="{FF2B5EF4-FFF2-40B4-BE49-F238E27FC236}">
                <a16:creationId xmlns:a16="http://schemas.microsoft.com/office/drawing/2014/main" id="{F9804F50-EAFF-E858-A844-4BBE3ACFBF89}"/>
              </a:ext>
            </a:extLst>
          </p:cNvPr>
          <p:cNvSpPr txBox="1"/>
          <p:nvPr/>
        </p:nvSpPr>
        <p:spPr>
          <a:xfrm>
            <a:off x="5973980" y="4395375"/>
            <a:ext cx="689291" cy="153888"/>
          </a:xfrm>
          <a:prstGeom prst="rect">
            <a:avLst/>
          </a:prstGeom>
          <a:noFill/>
        </p:spPr>
        <p:txBody>
          <a:bodyPr wrap="none" lIns="0" tIns="0" rIns="0" bIns="0" rtlCol="0">
            <a:spAutoFit/>
          </a:bodyPr>
          <a:lstStyle/>
          <a:p>
            <a:pPr algn="l"/>
            <a:r>
              <a:rPr lang="en-US" sz="1000" dirty="0"/>
              <a:t>Copied data</a:t>
            </a:r>
          </a:p>
        </p:txBody>
      </p:sp>
      <p:sp>
        <p:nvSpPr>
          <p:cNvPr id="1039" name="TextBox 1038">
            <a:extLst>
              <a:ext uri="{FF2B5EF4-FFF2-40B4-BE49-F238E27FC236}">
                <a16:creationId xmlns:a16="http://schemas.microsoft.com/office/drawing/2014/main" id="{ADC40D8D-FFCA-36CD-766B-7AA8FE94303B}"/>
              </a:ext>
            </a:extLst>
          </p:cNvPr>
          <p:cNvSpPr txBox="1"/>
          <p:nvPr/>
        </p:nvSpPr>
        <p:spPr>
          <a:xfrm>
            <a:off x="9488930" y="4141330"/>
            <a:ext cx="974626" cy="153888"/>
          </a:xfrm>
          <a:prstGeom prst="rect">
            <a:avLst/>
          </a:prstGeom>
          <a:noFill/>
        </p:spPr>
        <p:txBody>
          <a:bodyPr wrap="none" lIns="0" tIns="0" rIns="0" bIns="0" rtlCol="0">
            <a:spAutoFit/>
          </a:bodyPr>
          <a:lstStyle/>
          <a:p>
            <a:pPr algn="l"/>
            <a:r>
              <a:rPr lang="en-US" sz="1000" dirty="0"/>
              <a:t>SQL-based cache</a:t>
            </a:r>
          </a:p>
        </p:txBody>
      </p:sp>
      <p:sp>
        <p:nvSpPr>
          <p:cNvPr id="1043" name="Arrow: Bent-Up 1042">
            <a:extLst>
              <a:ext uri="{FF2B5EF4-FFF2-40B4-BE49-F238E27FC236}">
                <a16:creationId xmlns:a16="http://schemas.microsoft.com/office/drawing/2014/main" id="{A7ACE756-7490-75CC-32B8-C4DB8EEAA048}"/>
              </a:ext>
            </a:extLst>
          </p:cNvPr>
          <p:cNvSpPr/>
          <p:nvPr/>
        </p:nvSpPr>
        <p:spPr bwMode="auto">
          <a:xfrm rot="10800000" flipH="1" flipV="1">
            <a:off x="8704327" y="4458896"/>
            <a:ext cx="393679" cy="759275"/>
          </a:xfrm>
          <a:prstGeom prst="bentUp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46" name="Graphic 1045">
            <a:extLst>
              <a:ext uri="{FF2B5EF4-FFF2-40B4-BE49-F238E27FC236}">
                <a16:creationId xmlns:a16="http://schemas.microsoft.com/office/drawing/2014/main" id="{76FB850E-5920-140C-F635-617D9CC116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59135" y="4744822"/>
            <a:ext cx="850025" cy="850025"/>
          </a:xfrm>
          <a:prstGeom prst="rect">
            <a:avLst/>
          </a:prstGeom>
        </p:spPr>
      </p:pic>
      <p:sp>
        <p:nvSpPr>
          <p:cNvPr id="1052" name="TextBox 1051">
            <a:extLst>
              <a:ext uri="{FF2B5EF4-FFF2-40B4-BE49-F238E27FC236}">
                <a16:creationId xmlns:a16="http://schemas.microsoft.com/office/drawing/2014/main" id="{247D13A3-08D8-1104-CAF5-12E0078CFFEB}"/>
              </a:ext>
            </a:extLst>
          </p:cNvPr>
          <p:cNvSpPr txBox="1"/>
          <p:nvPr/>
        </p:nvSpPr>
        <p:spPr>
          <a:xfrm>
            <a:off x="8419654" y="3399483"/>
            <a:ext cx="920124" cy="153888"/>
          </a:xfrm>
          <a:prstGeom prst="rect">
            <a:avLst/>
          </a:prstGeom>
          <a:noFill/>
        </p:spPr>
        <p:txBody>
          <a:bodyPr wrap="none" lIns="0" tIns="0" rIns="0" bIns="0" rtlCol="0">
            <a:spAutoFit/>
          </a:bodyPr>
          <a:lstStyle/>
          <a:p>
            <a:pPr algn="l"/>
            <a:r>
              <a:rPr lang="en-US" sz="1000" dirty="0"/>
              <a:t>Reference query</a:t>
            </a:r>
          </a:p>
        </p:txBody>
      </p:sp>
      <p:sp>
        <p:nvSpPr>
          <p:cNvPr id="1053" name="Arrow: Bent-Up 1052">
            <a:extLst>
              <a:ext uri="{FF2B5EF4-FFF2-40B4-BE49-F238E27FC236}">
                <a16:creationId xmlns:a16="http://schemas.microsoft.com/office/drawing/2014/main" id="{BDDB259D-B129-4152-D11B-C403B261ED51}"/>
              </a:ext>
            </a:extLst>
          </p:cNvPr>
          <p:cNvSpPr/>
          <p:nvPr/>
        </p:nvSpPr>
        <p:spPr bwMode="auto">
          <a:xfrm flipV="1">
            <a:off x="10466503" y="3682974"/>
            <a:ext cx="393679" cy="1067743"/>
          </a:xfrm>
          <a:prstGeom prst="bentUp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909441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1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1000"/>
                                        <p:tgtEl>
                                          <p:spTgt spid="49"/>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1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dirty="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dirty="0">
                <a:gradFill>
                  <a:gsLst>
                    <a:gs pos="2917">
                      <a:srgbClr val="505050"/>
                    </a:gs>
                    <a:gs pos="30000">
                      <a:srgbClr val="505050"/>
                    </a:gs>
                  </a:gsLst>
                  <a:lin ang="5400000" scaled="0"/>
                </a:gradFill>
                <a:latin typeface="Segoe UI"/>
              </a:rPr>
              <a:t>the Mashup Engine compensates </a:t>
            </a:r>
            <a:r>
              <a:rPr lang="en-US" sz="2100" dirty="0">
                <a:solidFill>
                  <a:schemeClr val="tx1">
                    <a:lumMod val="50000"/>
                    <a:lumOff val="50000"/>
                  </a:schemeClr>
                </a:solidFill>
                <a:latin typeface="Segoe UI" panose="020B0502040204020203" pitchFamily="34" charset="0"/>
              </a:rPr>
              <a:t>(i.e. does the processing locally) </a:t>
            </a:r>
            <a:r>
              <a:rPr lang="en-US" sz="2100" b="1" dirty="0">
                <a:gradFill>
                  <a:gsLst>
                    <a:gs pos="2917">
                      <a:srgbClr val="505050"/>
                    </a:gs>
                    <a:gs pos="30000">
                      <a:srgbClr val="505050"/>
                    </a:gs>
                  </a:gsLst>
                  <a:lin ang="5400000" scaled="0"/>
                </a:gradFill>
                <a:latin typeface="Segoe UI"/>
              </a:rPr>
              <a:t>for transformations that cannot be sent to the source</a:t>
            </a:r>
            <a:r>
              <a:rPr lang="en-US" sz="2040" dirty="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1000"/>
                                        <p:tgtEl>
                                          <p:spTgt spid="6"/>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1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13746" y="6698341"/>
            <a:ext cx="1912511" cy="188385"/>
          </a:xfrm>
          <a:prstGeom prst="rect">
            <a:avLst/>
          </a:prstGeom>
          <a:noFill/>
        </p:spPr>
        <p:txBody>
          <a:bodyPr wrap="none" lIns="0" tIns="0" rIns="0" bIns="0" rtlCol="0">
            <a:spAutoFit/>
          </a:bodyPr>
          <a:lstStyle/>
          <a:p>
            <a:pPr defTabSz="932504"/>
            <a:r>
              <a:rPr lang="en-US" sz="1224" dirty="0">
                <a:gradFill>
                  <a:gsLst>
                    <a:gs pos="2917">
                      <a:prstClr val="black"/>
                    </a:gs>
                    <a:gs pos="30000">
                      <a:prstClr val="black"/>
                    </a:gs>
                  </a:gsLst>
                  <a:lin ang="5400000" scaled="0"/>
                </a:gradFill>
              </a:rPr>
              <a:t>* Every Scenario is Different</a:t>
            </a:r>
          </a:p>
        </p:txBody>
      </p:sp>
      <p:grpSp>
        <p:nvGrpSpPr>
          <p:cNvPr id="14" name="Group 13">
            <a:extLst>
              <a:ext uri="{FF2B5EF4-FFF2-40B4-BE49-F238E27FC236}">
                <a16:creationId xmlns:a16="http://schemas.microsoft.com/office/drawing/2014/main" id="{11952C96-310E-CEFD-9CFE-6C2F1F9B0E2B}"/>
              </a:ext>
            </a:extLst>
          </p:cNvPr>
          <p:cNvGrpSpPr/>
          <p:nvPr/>
        </p:nvGrpSpPr>
        <p:grpSpPr>
          <a:xfrm>
            <a:off x="600780" y="1463040"/>
            <a:ext cx="7105013" cy="4736675"/>
            <a:chOff x="600856" y="1463668"/>
            <a:chExt cx="7105920" cy="4737280"/>
          </a:xfrm>
        </p:grpSpPr>
        <p:graphicFrame>
          <p:nvGraphicFramePr>
            <p:cNvPr id="15" name="Diagram 14">
              <a:extLst>
                <a:ext uri="{FF2B5EF4-FFF2-40B4-BE49-F238E27FC236}">
                  <a16:creationId xmlns:a16="http://schemas.microsoft.com/office/drawing/2014/main" id="{2C5690BC-FACB-3733-E199-C3FC0F11D9E6}"/>
                </a:ext>
              </a:extLst>
            </p:cNvPr>
            <p:cNvGraphicFramePr/>
            <p:nvPr>
              <p:extLst>
                <p:ext uri="{D42A27DB-BD31-4B8C-83A1-F6EECF244321}">
                  <p14:modId xmlns:p14="http://schemas.microsoft.com/office/powerpoint/2010/main" val="4109702305"/>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Isosceles Triangle 16">
              <a:extLst>
                <a:ext uri="{FF2B5EF4-FFF2-40B4-BE49-F238E27FC236}">
                  <a16:creationId xmlns:a16="http://schemas.microsoft.com/office/drawing/2014/main" id="{8136AF6F-9DC5-ED2A-6A9F-0A8937966801}"/>
                </a:ext>
              </a:extLst>
            </p:cNvPr>
            <p:cNvSpPr/>
            <p:nvPr/>
          </p:nvSpPr>
          <p:spPr bwMode="auto">
            <a:xfrm rot="10800000">
              <a:off x="3704103" y="5593228"/>
              <a:ext cx="907983" cy="594354"/>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246311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040"/>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gradFill flip="none" rotWithShape="1">
            <a:gsLst>
              <a:gs pos="0">
                <a:srgbClr val="FFC000">
                  <a:alpha val="20000"/>
                </a:srgbClr>
              </a:gs>
              <a:gs pos="76000">
                <a:srgbClr val="FF0000">
                  <a:shade val="67500"/>
                  <a:satMod val="115000"/>
                </a:srgbClr>
              </a:gs>
              <a:gs pos="100000">
                <a:srgbClr val="FF0000">
                  <a:shade val="100000"/>
                  <a:satMod val="115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480756" y="1444033"/>
            <a:ext cx="3434595" cy="374846"/>
          </a:xfrm>
          <a:prstGeom prst="rect">
            <a:avLst/>
          </a:prstGeom>
          <a:noFill/>
        </p:spPr>
        <p:txBody>
          <a:bodyPr wrap="none" rtlCol="0">
            <a:spAutoFit/>
          </a:bodyPr>
          <a:lstStyle/>
          <a:p>
            <a:pPr defTabSz="932504"/>
            <a:r>
              <a:rPr lang="en-US" sz="1836" b="1" dirty="0">
                <a:solidFill>
                  <a:prstClr val="black"/>
                </a:solidFill>
                <a:latin typeface="Segoe UI" panose="020B0502040204020203" pitchFamily="34" charset="0"/>
                <a:cs typeface="Segoe UI" panose="020B0502040204020203" pitchFamily="34" charset="0"/>
              </a:rPr>
              <a:t>Non-Foldable Transform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2393284" cy="313932"/>
          </a:xfrm>
          <a:prstGeom prst="rect">
            <a:avLst/>
          </a:prstGeom>
          <a:noFill/>
        </p:spPr>
        <p:txBody>
          <a:bodyPr wrap="none" lIns="0" tIns="0" rIns="0" bIns="0" rtlCol="0">
            <a:spAutoFit/>
          </a:bodyPr>
          <a:lstStyle/>
          <a:p>
            <a:pPr defTabSz="932504"/>
            <a:r>
              <a:rPr lang="en-US" sz="2040" dirty="0">
                <a:gradFill>
                  <a:gsLst>
                    <a:gs pos="2917">
                      <a:prstClr val="black"/>
                    </a:gs>
                    <a:gs pos="30000">
                      <a:prstClr val="black"/>
                    </a:gs>
                  </a:gsLst>
                  <a:lin ang="5400000" scaled="0"/>
                </a:gradFill>
                <a:latin typeface="+mj-lt"/>
                <a:cs typeface="Leelawadee" panose="020B0502040204020203" pitchFamily="34" charset="-34"/>
              </a:rPr>
              <a:t>- All Mashup Engine</a:t>
            </a:r>
          </a:p>
        </p:txBody>
      </p:sp>
      <p:sp>
        <p:nvSpPr>
          <p:cNvPr id="4" name="TextBox 3">
            <a:extLst>
              <a:ext uri="{FF2B5EF4-FFF2-40B4-BE49-F238E27FC236}">
                <a16:creationId xmlns:a16="http://schemas.microsoft.com/office/drawing/2014/main" id="{3A537867-72FC-297A-E715-2FEB132B18F0}"/>
              </a:ext>
            </a:extLst>
          </p:cNvPr>
          <p:cNvSpPr txBox="1"/>
          <p:nvPr/>
        </p:nvSpPr>
        <p:spPr>
          <a:xfrm>
            <a:off x="10413746" y="6698341"/>
            <a:ext cx="1912511" cy="188385"/>
          </a:xfrm>
          <a:prstGeom prst="rect">
            <a:avLst/>
          </a:prstGeom>
          <a:noFill/>
        </p:spPr>
        <p:txBody>
          <a:bodyPr wrap="none" lIns="0" tIns="0" rIns="0" bIns="0" rtlCol="0">
            <a:spAutoFit/>
          </a:bodyPr>
          <a:lstStyle/>
          <a:p>
            <a:pPr defTabSz="932504"/>
            <a:r>
              <a:rPr lang="en-US" sz="1224" dirty="0">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66038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6" y="1536839"/>
            <a:ext cx="9728888" cy="2245655"/>
          </a:xfrm>
        </p:spPr>
        <p:txBody>
          <a:bodyPr>
            <a:normAutofit/>
          </a:bodyPr>
          <a:lstStyle/>
          <a:p>
            <a:pPr marL="466251" indent="-466251">
              <a:buFont typeface="+mj-lt"/>
              <a:buAutoNum type="arabicPeriod"/>
            </a:pPr>
            <a:r>
              <a:rPr lang="en-US" sz="2448" dirty="0">
                <a:latin typeface="Segoe UI" panose="020B0502040204020203" pitchFamily="34" charset="0"/>
              </a:rPr>
              <a:t>“As far upstream as possible, as far downstream as necessary.”</a:t>
            </a:r>
          </a:p>
          <a:p>
            <a:pPr marL="466251" indent="-466251">
              <a:buFont typeface="+mj-lt"/>
              <a:buAutoNum type="arabicPeriod"/>
            </a:pPr>
            <a:r>
              <a:rPr lang="en-US" sz="2448" dirty="0">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dirty="0">
                <a:latin typeface="Segoe UI" panose="020B0502040204020203" pitchFamily="34" charset="0"/>
              </a:rPr>
              <a:t>Always default to </a:t>
            </a:r>
            <a:r>
              <a:rPr lang="en-US" sz="2448">
                <a:latin typeface="Segoe UI" panose="020B0502040204020203" pitchFamily="34" charset="0"/>
              </a:rPr>
              <a:t>the UI </a:t>
            </a:r>
            <a:r>
              <a:rPr lang="en-US" sz="2448" dirty="0">
                <a:latin typeface="Segoe UI" panose="020B0502040204020203" pitchFamily="34" charset="0"/>
              </a:rPr>
              <a:t>first and the code last.</a:t>
            </a:r>
          </a:p>
          <a:p>
            <a:pPr marL="466251" indent="-466251">
              <a:buFont typeface="+mj-lt"/>
              <a:buAutoNum type="arabicPeriod"/>
            </a:pPr>
            <a:r>
              <a:rPr lang="en-US" sz="2448" dirty="0">
                <a:latin typeface="Segoe UI" panose="020B0502040204020203" pitchFamily="34" charset="0"/>
              </a:rPr>
              <a:t>Power Query </a:t>
            </a:r>
            <a:r>
              <a:rPr lang="en-US" sz="2448" b="1" u="sng" dirty="0">
                <a:latin typeface="Segoe UI" panose="020B0502040204020203" pitchFamily="34" charset="0"/>
              </a:rPr>
              <a:t>is</a:t>
            </a:r>
            <a:r>
              <a:rPr lang="en-US" sz="2448" dirty="0">
                <a:latin typeface="Segoe UI" panose="020B0502040204020203" pitchFamily="34" charset="0"/>
              </a:rPr>
              <a:t>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8"/>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89"/>
              </p:custDataLst>
            </p:nvPr>
          </p:nvSpPr>
          <p:spPr bwMode="auto">
            <a:xfrm rot="1095349">
              <a:off x="1462733" y="942033"/>
              <a:ext cx="4834232" cy="4834232"/>
            </a:xfrm>
            <a:prstGeom prst="blockArc">
              <a:avLst>
                <a:gd name="adj1" fmla="val 17280000"/>
                <a:gd name="adj2" fmla="val 1944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0"/>
              </p:custDataLst>
            </p:nvPr>
          </p:nvSpPr>
          <p:spPr bwMode="auto">
            <a:xfrm rot="1095349">
              <a:off x="1499088" y="978388"/>
              <a:ext cx="4761522" cy="4761522"/>
            </a:xfrm>
            <a:prstGeom prst="blockArc">
              <a:avLst>
                <a:gd name="adj1" fmla="val 19440000"/>
                <a:gd name="adj2" fmla="val 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3" imgW="1397160" imgH="1606680" progId="Paint.Picture.1">
                    <p:embed/>
                  </p:oleObj>
                </mc:Choice>
                <mc:Fallback>
                  <p:oleObj name="Bitmap Image" r:id="rId93"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4"/>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4" cy="3802536"/>
            <a:chOff x="5889037" y="1419924"/>
            <a:chExt cx="6141098" cy="38030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2" y="2483384"/>
              <a:ext cx="6105913" cy="2739561"/>
            </a:xfrm>
            <a:prstGeom prst="rect">
              <a:avLst/>
            </a:prstGeom>
            <a:noFill/>
          </p:spPr>
          <p:txBody>
            <a:bodyPr wrap="square">
              <a:spAutoFit/>
            </a:bodyPr>
            <a:lstStyle/>
            <a:p>
              <a:r>
                <a:rPr lang="en-US" sz="2800" dirty="0">
                  <a:solidFill>
                    <a:srgbClr val="171717"/>
                  </a:solidFill>
                  <a:latin typeface="+mj-lt"/>
                </a:rPr>
                <a:t>“Real-time” and “blazing-fast” are the only requirements we’ve been provided now that our data is ready.</a:t>
              </a:r>
            </a:p>
            <a:p>
              <a:endParaRPr lang="en-US" sz="2800" dirty="0">
                <a:solidFill>
                  <a:srgbClr val="171717"/>
                </a:solidFill>
                <a:latin typeface="+mj-lt"/>
              </a:endParaRPr>
            </a:p>
            <a:p>
              <a:r>
                <a:rPr lang="en-US" sz="2000" dirty="0">
                  <a:solidFill>
                    <a:srgbClr val="171717"/>
                  </a:solidFill>
                </a:rPr>
                <a:t>To ensure the dataset that we develop aligns with our business requirements, we’ll test and validate numerous model requirements.</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269227659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208199748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07" y="6013448"/>
            <a:ext cx="5433770" cy="461665"/>
          </a:xfrm>
          <a:prstGeom prst="rect">
            <a:avLst/>
          </a:prstGeom>
          <a:noFill/>
        </p:spPr>
        <p:txBody>
          <a:bodyPr wrap="square">
            <a:spAutoFit/>
          </a:bodyPr>
          <a:lstStyle/>
          <a:p>
            <a:r>
              <a:rPr lang="en-US" sz="1200" dirty="0">
                <a:gradFill>
                  <a:gsLst>
                    <a:gs pos="2917">
                      <a:srgbClr val="505050"/>
                    </a:gs>
                    <a:gs pos="30000">
                      <a:srgbClr val="505050"/>
                    </a:gs>
                  </a:gsLst>
                  <a:lin ang="5400000" scaled="0"/>
                </a:gradFill>
                <a:latin typeface="Segoe UI"/>
              </a:rPr>
              <a:t>Changing the </a:t>
            </a:r>
            <a:r>
              <a:rPr lang="en-US" sz="1200" b="1" dirty="0">
                <a:gradFill>
                  <a:gsLst>
                    <a:gs pos="2917">
                      <a:srgbClr val="505050"/>
                    </a:gs>
                    <a:gs pos="30000">
                      <a:srgbClr val="505050"/>
                    </a:gs>
                  </a:gsLst>
                  <a:lin ang="5400000" scaled="0"/>
                </a:gradFill>
                <a:latin typeface="Segoe UI"/>
              </a:rPr>
              <a:t>Storage mode</a:t>
            </a:r>
            <a:r>
              <a:rPr lang="en-US" sz="1200" dirty="0">
                <a:gradFill>
                  <a:gsLst>
                    <a:gs pos="2917">
                      <a:srgbClr val="505050"/>
                    </a:gs>
                    <a:gs pos="30000">
                      <a:srgbClr val="505050"/>
                    </a:gs>
                  </a:gsLst>
                  <a:lin ang="5400000" scaled="0"/>
                </a:gradFill>
                <a:latin typeface="Segoe UI"/>
              </a:rPr>
              <a:t> of a table to </a:t>
            </a:r>
            <a:r>
              <a:rPr lang="en-US" sz="1200" b="1" dirty="0">
                <a:gradFill>
                  <a:gsLst>
                    <a:gs pos="2917">
                      <a:srgbClr val="505050"/>
                    </a:gs>
                    <a:gs pos="30000">
                      <a:srgbClr val="505050"/>
                    </a:gs>
                  </a:gsLst>
                  <a:lin ang="5400000" scaled="0"/>
                </a:gradFill>
                <a:latin typeface="Segoe UI"/>
              </a:rPr>
              <a:t>Import</a:t>
            </a:r>
            <a:r>
              <a:rPr lang="en-US" sz="1200" dirty="0">
                <a:gradFill>
                  <a:gsLst>
                    <a:gs pos="2917">
                      <a:srgbClr val="505050"/>
                    </a:gs>
                    <a:gs pos="30000">
                      <a:srgbClr val="505050"/>
                    </a:gs>
                  </a:gsLst>
                  <a:lin ang="5400000" scaled="0"/>
                </a:gradFill>
                <a:latin typeface="Segoe UI"/>
              </a:rPr>
              <a:t> is an irreversible operation.</a:t>
            </a:r>
          </a:p>
          <a:p>
            <a:r>
              <a:rPr lang="en-US" sz="1200" dirty="0">
                <a:gradFill>
                  <a:gsLst>
                    <a:gs pos="2917">
                      <a:srgbClr val="505050"/>
                    </a:gs>
                    <a:gs pos="30000">
                      <a:srgbClr val="505050"/>
                    </a:gs>
                  </a:gsLst>
                  <a:lin ang="5400000" scaled="0"/>
                </a:gradFill>
                <a:latin typeface="Segoe UI"/>
              </a:rPr>
              <a:t>Once set, this property can't later be changed using Power BI Desktop.</a:t>
            </a:r>
          </a:p>
        </p:txBody>
      </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31044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5169695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dirty="0">
                <a:gradFill>
                  <a:gsLst>
                    <a:gs pos="2917">
                      <a:srgbClr val="505050"/>
                    </a:gs>
                    <a:gs pos="30000">
                      <a:srgbClr val="505050"/>
                    </a:gs>
                  </a:gsLst>
                  <a:lin ang="5400000" scaled="0"/>
                </a:gradFill>
                <a:latin typeface="Segoe UI"/>
              </a:rPr>
              <a:t>Advantages:</a:t>
            </a:r>
          </a:p>
          <a:p>
            <a:pPr marL="699065" lvl="1" indent="-233022"/>
            <a:r>
              <a:rPr lang="en-US" sz="1800" dirty="0">
                <a:gradFill>
                  <a:gsLst>
                    <a:gs pos="2917">
                      <a:srgbClr val="505050"/>
                    </a:gs>
                    <a:gs pos="30000">
                      <a:srgbClr val="505050"/>
                    </a:gs>
                  </a:gsLst>
                  <a:lin ang="5400000" scaled="0"/>
                </a:gradFill>
                <a:latin typeface="Segoe UI"/>
              </a:rPr>
              <a:t>Filtering</a:t>
            </a:r>
          </a:p>
          <a:p>
            <a:pPr marL="699065" lvl="1" indent="-233022"/>
            <a:r>
              <a:rPr lang="en-US" sz="1800" dirty="0">
                <a:gradFill>
                  <a:gsLst>
                    <a:gs pos="2917">
                      <a:srgbClr val="505050"/>
                    </a:gs>
                    <a:gs pos="30000">
                      <a:srgbClr val="505050"/>
                    </a:gs>
                  </a:gsLst>
                  <a:lin ang="5400000" scaled="0"/>
                </a:gradFill>
                <a:latin typeface="Segoe UI"/>
              </a:rPr>
              <a:t>Aggregating</a:t>
            </a:r>
          </a:p>
          <a:p>
            <a:pPr marL="699065" lvl="1" indent="-233022"/>
            <a:r>
              <a:rPr lang="en-US" sz="1800" dirty="0">
                <a:gradFill>
                  <a:gsLst>
                    <a:gs pos="2917">
                      <a:srgbClr val="505050"/>
                    </a:gs>
                    <a:gs pos="30000">
                      <a:srgbClr val="505050"/>
                    </a:gs>
                  </a:gsLst>
                  <a:lin ang="5400000" scaled="0"/>
                </a:gradFill>
                <a:latin typeface="Segoe UI"/>
              </a:rPr>
              <a:t>Simpler DAX</a:t>
            </a:r>
          </a:p>
          <a:p>
            <a:pPr marL="466043" lvl="1" indent="0">
              <a:buNone/>
            </a:pPr>
            <a:endParaRPr lang="en-US" sz="2400" b="1" dirty="0">
              <a:gradFill>
                <a:gsLst>
                  <a:gs pos="2917">
                    <a:srgbClr val="505050"/>
                  </a:gs>
                  <a:gs pos="30000">
                    <a:srgbClr val="505050"/>
                  </a:gs>
                </a:gsLst>
                <a:lin ang="5400000" scaled="0"/>
              </a:gradFill>
              <a:latin typeface="Segoe UI"/>
            </a:endParaRPr>
          </a:p>
          <a:p>
            <a:pPr marL="466043" indent="-466043">
              <a:buFont typeface="+mj-lt"/>
              <a:buAutoNum type="arabicPeriod"/>
            </a:pPr>
            <a:r>
              <a:rPr lang="en-US" sz="2400" b="1" dirty="0">
                <a:gradFill>
                  <a:gsLst>
                    <a:gs pos="2917">
                      <a:srgbClr val="505050"/>
                    </a:gs>
                    <a:gs pos="30000">
                      <a:srgbClr val="505050"/>
                    </a:gs>
                  </a:gsLst>
                  <a:lin ang="5400000" scaled="0"/>
                </a:gradFill>
                <a:latin typeface="Segoe UI"/>
              </a:rPr>
              <a:t>Disadvantages:</a:t>
            </a:r>
          </a:p>
          <a:p>
            <a:pPr marL="699065" lvl="1" indent="-233022"/>
            <a:r>
              <a:rPr lang="en-US" sz="1800" dirty="0">
                <a:gradFill>
                  <a:gsLst>
                    <a:gs pos="2917">
                      <a:srgbClr val="505050"/>
                    </a:gs>
                    <a:gs pos="30000">
                      <a:srgbClr val="505050"/>
                    </a:gs>
                  </a:gsLst>
                  <a:lin ang="5400000" scaled="0"/>
                </a:gradFill>
                <a:latin typeface="Segoe UI"/>
              </a:rPr>
              <a:t>Only one column</a:t>
            </a:r>
          </a:p>
          <a:p>
            <a:pPr marL="699065" lvl="1" indent="-233022"/>
            <a:r>
              <a:rPr lang="en-US" sz="1800" dirty="0">
                <a:gradFill>
                  <a:gsLst>
                    <a:gs pos="2917">
                      <a:srgbClr val="505050"/>
                    </a:gs>
                    <a:gs pos="30000">
                      <a:srgbClr val="505050"/>
                    </a:gs>
                  </a:gsLst>
                  <a:lin ang="5400000" scaled="0"/>
                </a:gradFill>
                <a:latin typeface="Segoe UI"/>
              </a:rPr>
              <a:t>Can be costly</a:t>
            </a:r>
          </a:p>
          <a:p>
            <a:pPr marL="699065" lvl="1" indent="-233022"/>
            <a:r>
              <a:rPr lang="en-US" sz="1800" dirty="0">
                <a:gradFill>
                  <a:gsLst>
                    <a:gs pos="2917">
                      <a:srgbClr val="505050"/>
                    </a:gs>
                    <a:gs pos="30000">
                      <a:srgbClr val="505050"/>
                    </a:gs>
                  </a:gsLst>
                  <a:lin ang="5400000" scaled="0"/>
                </a:gradFill>
                <a:latin typeface="Segoe UI"/>
              </a:rPr>
              <a:t>Be careful with</a:t>
            </a:r>
          </a:p>
          <a:p>
            <a:pPr marL="903051" lvl="2" indent="-233022"/>
            <a:r>
              <a:rPr lang="en-US" sz="1392" dirty="0">
                <a:gradFill>
                  <a:gsLst>
                    <a:gs pos="2917">
                      <a:srgbClr val="505050"/>
                    </a:gs>
                    <a:gs pos="30000">
                      <a:srgbClr val="505050"/>
                    </a:gs>
                  </a:gsLst>
                  <a:lin ang="5400000" scaled="0"/>
                </a:gradFill>
                <a:latin typeface="Segoe UI"/>
              </a:rPr>
              <a:t>Many-to-many</a:t>
            </a:r>
          </a:p>
          <a:p>
            <a:pPr marL="903051" lvl="2" indent="-233022"/>
            <a:r>
              <a:rPr lang="en-US" sz="1392" dirty="0">
                <a:gradFill>
                  <a:gsLst>
                    <a:gs pos="2917">
                      <a:srgbClr val="505050"/>
                    </a:gs>
                    <a:gs pos="30000">
                      <a:srgbClr val="505050"/>
                    </a:gs>
                  </a:gsLst>
                  <a:lin ang="5400000" scaled="0"/>
                </a:gradFill>
                <a:latin typeface="Segoe UI"/>
              </a:rPr>
              <a:t>Bi-directional</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2791043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sp>
        <p:nvSpPr>
          <p:cNvPr id="9" name="TextBox 8">
            <a:extLst>
              <a:ext uri="{FF2B5EF4-FFF2-40B4-BE49-F238E27FC236}">
                <a16:creationId xmlns:a16="http://schemas.microsoft.com/office/drawing/2014/main" id="{0977A2E0-A182-4C11-B815-88B257E1642F}"/>
              </a:ext>
            </a:extLst>
          </p:cNvPr>
          <p:cNvSpPr txBox="1"/>
          <p:nvPr/>
        </p:nvSpPr>
        <p:spPr>
          <a:xfrm>
            <a:off x="5155760" y="4209156"/>
            <a:ext cx="1905000" cy="492443"/>
          </a:xfrm>
          <a:prstGeom prst="rect">
            <a:avLst/>
          </a:prstGeom>
          <a:noFill/>
        </p:spPr>
        <p:txBody>
          <a:bodyPr wrap="square" lIns="0" tIns="0" rIns="0" bIns="0" rtlCol="0">
            <a:spAutoFit/>
          </a:bodyPr>
          <a:lstStyle/>
          <a:p>
            <a:pPr algn="ctr"/>
            <a:r>
              <a:rPr lang="en-US" sz="2000" dirty="0">
                <a:latin typeface="+mj-lt"/>
              </a:rPr>
              <a:t>Scott Sewell</a:t>
            </a:r>
          </a:p>
          <a:p>
            <a:pPr algn="ctr"/>
            <a:r>
              <a:rPr lang="en-US" sz="1200" dirty="0">
                <a:latin typeface="+mj-lt"/>
              </a:rPr>
              <a:t>Principal Program Manager</a:t>
            </a:r>
          </a:p>
        </p:txBody>
      </p:sp>
      <p:sp>
        <p:nvSpPr>
          <p:cNvPr id="10" name="TextBox 9">
            <a:extLst>
              <a:ext uri="{FF2B5EF4-FFF2-40B4-BE49-F238E27FC236}">
                <a16:creationId xmlns:a16="http://schemas.microsoft.com/office/drawing/2014/main" id="{B0154E7A-9CEF-42E4-9393-76973B939CB7}"/>
              </a:ext>
            </a:extLst>
          </p:cNvPr>
          <p:cNvSpPr txBox="1"/>
          <p:nvPr/>
        </p:nvSpPr>
        <p:spPr>
          <a:xfrm>
            <a:off x="8057961" y="4209157"/>
            <a:ext cx="1905000" cy="492443"/>
          </a:xfrm>
          <a:prstGeom prst="rect">
            <a:avLst/>
          </a:prstGeom>
          <a:noFill/>
        </p:spPr>
        <p:txBody>
          <a:bodyPr wrap="square" lIns="0" tIns="0" rIns="0" bIns="0" rtlCol="0">
            <a:spAutoFit/>
          </a:bodyPr>
          <a:lstStyle/>
          <a:p>
            <a:pPr algn="ctr"/>
            <a:r>
              <a:rPr lang="en-US" sz="2000" dirty="0">
                <a:latin typeface="+mj-lt"/>
              </a:rPr>
              <a:t>Dan Evans</a:t>
            </a:r>
          </a:p>
          <a:p>
            <a:pPr algn="ctr"/>
            <a:r>
              <a:rPr lang="en-US" sz="1200" dirty="0">
                <a:latin typeface="+mj-lt"/>
              </a:rPr>
              <a:t>Senior Consultant</a:t>
            </a:r>
          </a:p>
        </p:txBody>
      </p:sp>
      <p:sp>
        <p:nvSpPr>
          <p:cNvPr id="13" name="TextBox 12">
            <a:extLst>
              <a:ext uri="{FF2B5EF4-FFF2-40B4-BE49-F238E27FC236}">
                <a16:creationId xmlns:a16="http://schemas.microsoft.com/office/drawing/2014/main" id="{DFBAF52F-56DE-4C76-93B5-061E2811C89D}"/>
              </a:ext>
            </a:extLst>
          </p:cNvPr>
          <p:cNvSpPr txBox="1"/>
          <p:nvPr/>
        </p:nvSpPr>
        <p:spPr>
          <a:xfrm>
            <a:off x="5097622" y="754822"/>
            <a:ext cx="2239651" cy="553998"/>
          </a:xfrm>
          <a:prstGeom prst="rect">
            <a:avLst/>
          </a:prstGeom>
          <a:noFill/>
        </p:spPr>
        <p:txBody>
          <a:bodyPr wrap="none" lIns="0" tIns="0" rIns="0" bIns="0" rtlCol="0">
            <a:spAutoFit/>
          </a:bodyPr>
          <a:lstStyle/>
          <a:p>
            <a:pPr algn="ctr"/>
            <a:r>
              <a:rPr lang="en-US" sz="3600" dirty="0">
                <a:latin typeface="+mj-lt"/>
              </a:rPr>
              <a:t>Instructors</a:t>
            </a:r>
          </a:p>
        </p:txBody>
      </p:sp>
      <p:sp>
        <p:nvSpPr>
          <p:cNvPr id="2" name="AutoShape 2" descr="Dan Evans">
            <a:extLst>
              <a:ext uri="{FF2B5EF4-FFF2-40B4-BE49-F238E27FC236}">
                <a16:creationId xmlns:a16="http://schemas.microsoft.com/office/drawing/2014/main" id="{90713AE8-6C5E-54F0-C6BD-AA8B5BCC46E6}"/>
              </a:ext>
            </a:extLst>
          </p:cNvPr>
          <p:cNvSpPr>
            <a:spLocks noChangeAspect="1" noChangeArrowheads="1"/>
          </p:cNvSpPr>
          <p:nvPr/>
        </p:nvSpPr>
        <p:spPr bwMode="auto">
          <a:xfrm>
            <a:off x="6064250" y="33448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8" name="Picture 4" descr="Profile picture of Dan Evans">
            <a:extLst>
              <a:ext uri="{FF2B5EF4-FFF2-40B4-BE49-F238E27FC236}">
                <a16:creationId xmlns:a16="http://schemas.microsoft.com/office/drawing/2014/main" id="{22A96467-C572-0A08-0E29-9807803A13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7961" y="2036062"/>
            <a:ext cx="1903719" cy="190371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Profile picture of Scott Sewell">
            <a:extLst>
              <a:ext uri="{FF2B5EF4-FFF2-40B4-BE49-F238E27FC236}">
                <a16:creationId xmlns:a16="http://schemas.microsoft.com/office/drawing/2014/main" id="{EC4A440C-857F-9418-FFBE-47F4DCB152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5760" y="2057082"/>
            <a:ext cx="1903719" cy="1903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576723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One Dataset…</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err="1">
                  <a:gradFill>
                    <a:gsLst>
                      <a:gs pos="2917">
                        <a:srgbClr val="505050"/>
                      </a:gs>
                      <a:gs pos="30000">
                        <a:srgbClr val="505050"/>
                      </a:gs>
                    </a:gsLst>
                    <a:lin ang="5400000" scaled="0"/>
                  </a:gradFill>
                  <a:latin typeface="Segoe UI"/>
                  <a:cs typeface="+mn-cs"/>
                </a:rPr>
                <a:t>DirectQuery</a:t>
              </a:r>
              <a:r>
                <a:rPr lang="en-US" sz="1600" b="1" dirty="0">
                  <a:gradFill>
                    <a:gsLst>
                      <a:gs pos="2917">
                        <a:srgbClr val="505050"/>
                      </a:gs>
                      <a:gs pos="30000">
                        <a:srgbClr val="505050"/>
                      </a:gs>
                    </a:gsLst>
                    <a:lin ang="5400000" scaled="0"/>
                  </a:gradFill>
                  <a:latin typeface="Segoe UI"/>
                  <a:cs typeface="+mn-cs"/>
                </a:rPr>
                <a:t>: </a:t>
              </a:r>
              <a:r>
                <a:rPr lang="en-US" sz="1600" dirty="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Dual: </a:t>
                </a:r>
                <a:r>
                  <a:rPr lang="en-US" sz="1600" dirty="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08379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77568564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60429816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35209553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66196778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251362304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146835562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82876830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Data Model Properties</a:t>
            </a:r>
            <a:endParaRPr lang="en-US" sz="4080" spc="0" dirty="0">
              <a:solidFill>
                <a:srgbClr val="FFC000"/>
              </a:solidFill>
            </a:endParaRPr>
          </a:p>
        </p:txBody>
      </p:sp>
      <p:pic>
        <p:nvPicPr>
          <p:cNvPr id="19" name="Picture 18">
            <a:extLst>
              <a:ext uri="{FF2B5EF4-FFF2-40B4-BE49-F238E27FC236}">
                <a16:creationId xmlns:a16="http://schemas.microsoft.com/office/drawing/2014/main" id="{28C14FF6-8875-5CE0-8E10-4BE25BBB5944}"/>
              </a:ext>
            </a:extLst>
          </p:cNvPr>
          <p:cNvPicPr>
            <a:picLocks noChangeAspect="1"/>
          </p:cNvPicPr>
          <p:nvPr/>
        </p:nvPicPr>
        <p:blipFill>
          <a:blip r:embed="rId3"/>
          <a:stretch>
            <a:fillRect/>
          </a:stretch>
        </p:blipFill>
        <p:spPr>
          <a:xfrm>
            <a:off x="7269819" y="1456259"/>
            <a:ext cx="2089170" cy="5379242"/>
          </a:xfrm>
          <a:prstGeom prst="rect">
            <a:avLst/>
          </a:prstGeom>
        </p:spPr>
      </p:pic>
      <p:sp>
        <p:nvSpPr>
          <p:cNvPr id="21" name="TextBox 20">
            <a:extLst>
              <a:ext uri="{FF2B5EF4-FFF2-40B4-BE49-F238E27FC236}">
                <a16:creationId xmlns:a16="http://schemas.microsoft.com/office/drawing/2014/main" id="{32545513-21A5-AE1F-B69A-59692DB715A5}"/>
              </a:ext>
            </a:extLst>
          </p:cNvPr>
          <p:cNvSpPr txBox="1"/>
          <p:nvPr/>
        </p:nvSpPr>
        <p:spPr>
          <a:xfrm>
            <a:off x="1106191" y="1682496"/>
            <a:ext cx="4123944" cy="4001095"/>
          </a:xfrm>
          <a:prstGeom prst="rect">
            <a:avLst/>
          </a:prstGeom>
          <a:noFill/>
        </p:spPr>
        <p:txBody>
          <a:bodyPr wrap="square" lIns="0" tIns="0" rIns="0" bIns="0" rtlCol="0">
            <a:spAutoFit/>
          </a:bodyPr>
          <a:lstStyle/>
          <a:p>
            <a:pPr algn="l"/>
            <a:r>
              <a:rPr lang="en-US" sz="2000" dirty="0"/>
              <a:t>With the </a:t>
            </a:r>
            <a:r>
              <a:rPr lang="en-US" sz="2000" b="1" dirty="0"/>
              <a:t>Properties</a:t>
            </a:r>
            <a:r>
              <a:rPr lang="en-US" sz="2000" dirty="0"/>
              <a:t> pane in the Data modeling view, dataset developers can enrich their Tabular Object Model (TOM) with additional rich metadata…</a:t>
            </a:r>
          </a:p>
          <a:p>
            <a:pPr algn="l"/>
            <a:endParaRPr lang="en-US" sz="2000" dirty="0"/>
          </a:p>
          <a:p>
            <a:pPr marL="809271" lvl="1" indent="-342900">
              <a:buFont typeface="Arial" panose="020B0604020202020204" pitchFamily="34" charset="0"/>
              <a:buChar char="•"/>
            </a:pPr>
            <a:r>
              <a:rPr lang="en-US" sz="2000" dirty="0"/>
              <a:t>Description</a:t>
            </a:r>
          </a:p>
          <a:p>
            <a:pPr marL="809271" lvl="1" indent="-342900">
              <a:buFont typeface="Arial" panose="020B0604020202020204" pitchFamily="34" charset="0"/>
              <a:buChar char="•"/>
            </a:pPr>
            <a:r>
              <a:rPr lang="en-US" sz="2000" dirty="0"/>
              <a:t>Synonyms</a:t>
            </a:r>
          </a:p>
          <a:p>
            <a:pPr marL="809271" lvl="1" indent="-342900">
              <a:buFont typeface="Arial" panose="020B0604020202020204" pitchFamily="34" charset="0"/>
              <a:buChar char="•"/>
            </a:pPr>
            <a:r>
              <a:rPr lang="en-US" sz="2000" dirty="0"/>
              <a:t>Storage mode</a:t>
            </a:r>
          </a:p>
          <a:p>
            <a:pPr marL="809271" lvl="1" indent="-342900">
              <a:buFont typeface="Arial" panose="020B0604020202020204" pitchFamily="34" charset="0"/>
              <a:buChar char="•"/>
            </a:pPr>
            <a:r>
              <a:rPr lang="en-US" sz="2000" dirty="0"/>
              <a:t>Key column</a:t>
            </a:r>
          </a:p>
          <a:p>
            <a:pPr marL="809271" lvl="1" indent="-342900">
              <a:buFont typeface="Arial" panose="020B0604020202020204" pitchFamily="34" charset="0"/>
              <a:buChar char="•"/>
            </a:pPr>
            <a:r>
              <a:rPr lang="en-US" sz="2000" dirty="0"/>
              <a:t>Formatting</a:t>
            </a:r>
          </a:p>
          <a:p>
            <a:pPr marL="809271" lvl="1" indent="-342900">
              <a:buFont typeface="Arial" panose="020B0604020202020204" pitchFamily="34" charset="0"/>
              <a:buChar char="•"/>
            </a:pPr>
            <a:r>
              <a:rPr lang="en-US" sz="2000" dirty="0"/>
              <a:t>Data category</a:t>
            </a:r>
          </a:p>
          <a:p>
            <a:pPr marL="809271" lvl="1" indent="-342900">
              <a:buFont typeface="Arial" panose="020B0604020202020204" pitchFamily="34" charset="0"/>
              <a:buChar char="•"/>
            </a:pPr>
            <a:r>
              <a:rPr lang="en-US" sz="2000" dirty="0"/>
              <a:t>and more…</a:t>
            </a:r>
          </a:p>
        </p:txBody>
      </p:sp>
      <p:pic>
        <p:nvPicPr>
          <p:cNvPr id="23" name="Picture 22">
            <a:extLst>
              <a:ext uri="{FF2B5EF4-FFF2-40B4-BE49-F238E27FC236}">
                <a16:creationId xmlns:a16="http://schemas.microsoft.com/office/drawing/2014/main" id="{856C1599-E2AE-70AC-499C-1DF8AE072873}"/>
              </a:ext>
            </a:extLst>
          </p:cNvPr>
          <p:cNvPicPr>
            <a:picLocks noChangeAspect="1"/>
          </p:cNvPicPr>
          <p:nvPr/>
        </p:nvPicPr>
        <p:blipFill>
          <a:blip r:embed="rId4"/>
          <a:stretch>
            <a:fillRect/>
          </a:stretch>
        </p:blipFill>
        <p:spPr>
          <a:xfrm>
            <a:off x="9905510" y="1456259"/>
            <a:ext cx="1904696" cy="5379242"/>
          </a:xfrm>
          <a:prstGeom prst="rect">
            <a:avLst/>
          </a:prstGeom>
        </p:spPr>
      </p:pic>
    </p:spTree>
    <p:extLst>
      <p:ext uri="{BB962C8B-B14F-4D97-AF65-F5344CB8AC3E}">
        <p14:creationId xmlns:p14="http://schemas.microsoft.com/office/powerpoint/2010/main" val="186204600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98568846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9550343" cy="4834529"/>
          </a:xfrm>
        </p:spPr>
        <p:txBody>
          <a:bodyPr/>
          <a:lstStyle/>
          <a:p>
            <a:pPr marL="0" indent="0">
              <a:buNone/>
            </a:pPr>
            <a:r>
              <a:rPr lang="en-US" dirty="0"/>
              <a:t>Things to Remember:</a:t>
            </a:r>
          </a:p>
          <a:p>
            <a:pPr marL="342900" indent="-342900">
              <a:buAutoNum type="arabicPeriod"/>
            </a:pPr>
            <a:r>
              <a:rPr lang="en-US" sz="2800" dirty="0"/>
              <a:t>View Role</a:t>
            </a:r>
          </a:p>
          <a:p>
            <a:pPr marL="342900" indent="-342900">
              <a:buAutoNum type="arabicPeriod"/>
            </a:pPr>
            <a:r>
              <a:rPr lang="en-US" sz="2800" dirty="0"/>
              <a:t>Add member/group to Role in service</a:t>
            </a:r>
          </a:p>
          <a:p>
            <a:pPr marL="342900" indent="-342900">
              <a:buAutoNum type="arabicPeriod"/>
            </a:pPr>
            <a:r>
              <a:rPr lang="en-US" sz="2800" dirty="0"/>
              <a:t>Test Role</a:t>
            </a:r>
          </a:p>
          <a:p>
            <a:pPr marL="342900" indent="-342900">
              <a:buAutoNum type="arabicPeriod"/>
            </a:pPr>
            <a:r>
              <a:rPr lang="en-US" sz="2800" dirty="0"/>
              <a:t>Use only when necessary</a:t>
            </a:r>
          </a:p>
          <a:p>
            <a:pPr marL="342900" indent="-342900">
              <a:buAutoNum type="arabicPeriod"/>
            </a:pPr>
            <a:r>
              <a:rPr lang="en-US" sz="2800" dirty="0"/>
              <a:t>Filter on Dimension</a:t>
            </a:r>
          </a:p>
          <a:p>
            <a:pPr marL="342900" indent="-342900">
              <a:buAutoNum type="arabicPeriod"/>
            </a:pPr>
            <a:r>
              <a:rPr lang="en-US" sz="2800" dirty="0"/>
              <a:t>Avoid using LOOKUPVALUE, use relationships in model</a:t>
            </a:r>
          </a:p>
        </p:txBody>
      </p:sp>
    </p:spTree>
    <p:extLst>
      <p:ext uri="{BB962C8B-B14F-4D97-AF65-F5344CB8AC3E}">
        <p14:creationId xmlns:p14="http://schemas.microsoft.com/office/powerpoint/2010/main" val="1264552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Live Connection: </a:t>
            </a:r>
            <a:r>
              <a:rPr lang="en-US" sz="1600" dirty="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344000017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dirty="0">
                <a:latin typeface="Segoe UI"/>
                <a:cs typeface="Segoe UI"/>
              </a:rPr>
              <a:t>“As far upstream as possible, as far downstream as necessary.”</a:t>
            </a:r>
          </a:p>
          <a:p>
            <a:pPr marL="466043" indent="-466043">
              <a:buFont typeface="+mj-lt"/>
              <a:buAutoNum type="arabicPeriod"/>
            </a:pPr>
            <a:r>
              <a:rPr lang="en-US" sz="2400" dirty="0">
                <a:latin typeface="Segoe UI"/>
                <a:cs typeface="Segoe UI"/>
              </a:rPr>
              <a:t>Less is Always More. Only Bring in What You Need.</a:t>
            </a:r>
          </a:p>
          <a:p>
            <a:pPr marL="466043" indent="-466043">
              <a:buFont typeface="+mj-lt"/>
              <a:buAutoNum type="arabicPeriod"/>
            </a:pPr>
            <a:r>
              <a:rPr lang="en-US" sz="2400" dirty="0">
                <a:latin typeface="Segoe UI"/>
                <a:cs typeface="Segoe UI"/>
              </a:rPr>
              <a:t>Keep it Simple. Keep it Clean.</a:t>
            </a:r>
          </a:p>
          <a:p>
            <a:pPr marL="466043" indent="-466043">
              <a:buFont typeface="+mj-lt"/>
              <a:buAutoNum type="arabicPeriod"/>
            </a:pPr>
            <a:r>
              <a:rPr lang="en-US" sz="2400" dirty="0">
                <a:latin typeface="Segoe UI" panose="020B0502040204020203" pitchFamily="34" charset="0"/>
              </a:rPr>
              <a:t>There is no such thing as “</a:t>
            </a:r>
            <a:r>
              <a:rPr lang="en-US" sz="2400" b="1" dirty="0">
                <a:latin typeface="Segoe UI" panose="020B0502040204020203" pitchFamily="34" charset="0"/>
              </a:rPr>
              <a:t>Come Back To It</a:t>
            </a:r>
            <a:r>
              <a:rPr lang="en-US" sz="2400" dirty="0">
                <a:latin typeface="Segoe UI" panose="020B0502040204020203" pitchFamily="34" charset="0"/>
              </a:rPr>
              <a:t>”.</a:t>
            </a:r>
          </a:p>
          <a:p>
            <a:pPr marL="466043" indent="-466043">
              <a:buAutoNum type="arabicPeriod"/>
            </a:pPr>
            <a:r>
              <a:rPr lang="en-US" sz="2400" dirty="0">
                <a:latin typeface="Segoe UI"/>
                <a:cs typeface="Segoe UI"/>
              </a:rPr>
              <a:t>Test. Test. Tes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33941501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110836796"/>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8:00 AM – 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Introductions, setup and retrospective</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8:15 AM – 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pPr marL="0" algn="l" defTabSz="951209" rtl="0" eaLnBrk="1" latinLnBrk="0" hangingPunct="1"/>
                      <a:r>
                        <a:rPr lang="en-US" sz="1400" kern="1200" dirty="0">
                          <a:solidFill>
                            <a:schemeClr val="tx1"/>
                          </a:solidFill>
                          <a:latin typeface="+mj-lt"/>
                          <a:ea typeface="+mn-ea"/>
                          <a:cs typeface="+mn-cs"/>
                        </a:rPr>
                        <a:t>9:30 AM – 10:00 A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pPr marL="0" algn="l" defTabSz="951209" rtl="0" eaLnBrk="1" latinLnBrk="0" hangingPunct="1"/>
                      <a:r>
                        <a:rPr lang="en-US" sz="1400" kern="1200" dirty="0">
                          <a:solidFill>
                            <a:schemeClr val="tx1"/>
                          </a:solidFill>
                          <a:latin typeface="+mj-lt"/>
                          <a:ea typeface="+mn-ea"/>
                          <a:cs typeface="+mn-cs"/>
                        </a:rPr>
                        <a:t>12:00 PM – 1:00 PM </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Break for lunch</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pPr marL="0" algn="l" defTabSz="951209" rtl="0" eaLnBrk="1" latinLnBrk="0" hangingPunct="1"/>
                      <a:r>
                        <a:rPr lang="en-IN" sz="1400" kern="1200" dirty="0">
                          <a:solidFill>
                            <a:schemeClr val="tx1"/>
                          </a:solidFill>
                          <a:latin typeface="+mj-lt"/>
                          <a:ea typeface="+mn-ea"/>
                          <a:cs typeface="+mn-cs"/>
                        </a:rPr>
                        <a:t>2:30 PM – 3: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Closing thoughts and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5861836"/>
            <a:ext cx="11375188" cy="646331"/>
          </a:xfrm>
          <a:prstGeom prst="rect">
            <a:avLst/>
          </a:prstGeom>
          <a:noFill/>
          <a:ln w="3175">
            <a:solidFill>
              <a:schemeClr val="tx1"/>
            </a:solidFill>
          </a:ln>
        </p:spPr>
        <p:txBody>
          <a:bodyPr wrap="square">
            <a:spAutoFit/>
          </a:bodyPr>
          <a:lstStyle/>
          <a:p>
            <a:r>
              <a:rPr lang="en-US" b="0" i="0" dirty="0">
                <a:solidFill>
                  <a:srgbClr val="24292F"/>
                </a:solidFill>
                <a:effectLst/>
                <a:latin typeface="-apple-system"/>
              </a:rPr>
              <a:t>This workshop assumes that you have a working knowledge of report authoring using Power BI Desktop and content sharing via the Power BI service.</a:t>
            </a:r>
            <a:endParaRPr lang="en-US" dirty="0"/>
          </a:p>
        </p:txBody>
      </p:sp>
    </p:spTree>
    <p:extLst>
      <p:ext uri="{BB962C8B-B14F-4D97-AF65-F5344CB8AC3E}">
        <p14:creationId xmlns:p14="http://schemas.microsoft.com/office/powerpoint/2010/main" val="59032482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esign Effective Reports</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dirty="0">
                <a:hlinkClick r:id="rId2"/>
              </a:rPr>
              <a:t>Design effective reports in Power BI – Learn</a:t>
            </a:r>
            <a:endParaRPr lang="en-US" sz="3200" dirty="0"/>
          </a:p>
          <a:p>
            <a:pPr marL="0" indent="0">
              <a:buNone/>
            </a:pPr>
            <a:endParaRPr lang="en-US" sz="3200" dirty="0"/>
          </a:p>
          <a:p>
            <a:pPr marL="0" indent="0">
              <a:buNone/>
            </a:pPr>
            <a:r>
              <a:rPr lang="en-US" sz="3200" dirty="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71360393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233424"/>
            <a:chOff x="5889037" y="1419924"/>
            <a:chExt cx="6141097" cy="4233964"/>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170504"/>
            </a:xfrm>
            <a:prstGeom prst="rect">
              <a:avLst/>
            </a:prstGeom>
            <a:noFill/>
          </p:spPr>
          <p:txBody>
            <a:bodyPr wrap="square">
              <a:spAutoFit/>
            </a:bodyPr>
            <a:lstStyle/>
            <a:p>
              <a:r>
                <a:rPr lang="en-US" sz="2800" dirty="0">
                  <a:solidFill>
                    <a:srgbClr val="171717"/>
                  </a:solidFill>
                  <a:latin typeface="+mj-lt"/>
                </a:rPr>
                <a:t>For new users to adopt the report it must be “functional”, “fast” and capable of finding new insights with the click of a button.</a:t>
              </a:r>
            </a:p>
            <a:p>
              <a:endParaRPr lang="en-US" sz="2800" dirty="0">
                <a:solidFill>
                  <a:srgbClr val="171717"/>
                </a:solidFill>
                <a:latin typeface="+mj-lt"/>
              </a:endParaRPr>
            </a:p>
            <a:p>
              <a:r>
                <a:rPr lang="en-US" sz="2000" dirty="0">
                  <a:solidFill>
                    <a:srgbClr val="171717"/>
                  </a:solidFill>
                </a:rPr>
                <a:t>Connecting to a shared dataset and leveraging design best practices, we’ll create an aesthetically pleasing and performant report experiences.</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173708796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6D43C-C665-428F-BCAA-4ED3F3AF2A1A}"/>
              </a:ext>
            </a:extLst>
          </p:cNvPr>
          <p:cNvSpPr>
            <a:spLocks noGrp="1"/>
          </p:cNvSpPr>
          <p:nvPr>
            <p:ph type="title"/>
          </p:nvPr>
        </p:nvSpPr>
        <p:spPr/>
        <p:txBody>
          <a:bodyPr/>
          <a:lstStyle/>
          <a:p>
            <a:r>
              <a:rPr lang="en-US" dirty="0"/>
              <a:t>Report types</a:t>
            </a:r>
          </a:p>
        </p:txBody>
      </p:sp>
      <p:sp>
        <p:nvSpPr>
          <p:cNvPr id="20" name="Text Placeholder 19">
            <a:extLst>
              <a:ext uri="{FF2B5EF4-FFF2-40B4-BE49-F238E27FC236}">
                <a16:creationId xmlns:a16="http://schemas.microsoft.com/office/drawing/2014/main" id="{1A79FE5B-155C-45F7-80E8-3715CD7A2F70}"/>
              </a:ext>
            </a:extLst>
          </p:cNvPr>
          <p:cNvSpPr>
            <a:spLocks noGrp="1"/>
          </p:cNvSpPr>
          <p:nvPr>
            <p:ph type="body" sz="quarter" idx="10"/>
          </p:nvPr>
        </p:nvSpPr>
        <p:spPr>
          <a:xfrm>
            <a:off x="595840" y="1494644"/>
            <a:ext cx="5277437" cy="1067207"/>
          </a:xfrm>
        </p:spPr>
        <p:txBody>
          <a:bodyPr/>
          <a:lstStyle/>
          <a:p>
            <a:pPr marL="285721" indent="-285721" defTabSz="914309">
              <a:spcBef>
                <a:spcPts val="0"/>
              </a:spcBef>
              <a:buBlip>
                <a:blip r:embed="rId2"/>
              </a:buBlip>
            </a:pPr>
            <a:r>
              <a:rPr lang="en-US" sz="1800" dirty="0">
                <a:gradFill>
                  <a:gsLst>
                    <a:gs pos="1250">
                      <a:schemeClr val="tx1"/>
                    </a:gs>
                    <a:gs pos="100000">
                      <a:schemeClr val="tx1"/>
                    </a:gs>
                  </a:gsLst>
                  <a:lin ang="5400000" scaled="0"/>
                </a:gradFill>
                <a:latin typeface="+mn-lt"/>
                <a:cs typeface="Arial" panose="020B0604020202020204" pitchFamily="34" charset="0"/>
              </a:rPr>
              <a:t>Analytical</a:t>
            </a:r>
          </a:p>
          <a:p>
            <a:pPr lvl="1" defTabSz="914309">
              <a:spcBef>
                <a:spcPts val="0"/>
              </a:spcBef>
            </a:pPr>
            <a:r>
              <a:rPr lang="en-US" sz="1200" b="1" dirty="0">
                <a:gradFill>
                  <a:gsLst>
                    <a:gs pos="1250">
                      <a:schemeClr val="tx1"/>
                    </a:gs>
                    <a:gs pos="100000">
                      <a:schemeClr val="tx1"/>
                    </a:gs>
                  </a:gsLst>
                  <a:lin ang="5400000" scaled="0"/>
                </a:gradFill>
                <a:cs typeface="Arial" panose="020B0604020202020204" pitchFamily="34" charset="0"/>
              </a:rPr>
              <a:t>Description:</a:t>
            </a:r>
            <a:r>
              <a:rPr lang="en-US" sz="1200" dirty="0">
                <a:gradFill>
                  <a:gsLst>
                    <a:gs pos="1250">
                      <a:schemeClr val="tx1"/>
                    </a:gs>
                    <a:gs pos="100000">
                      <a:schemeClr val="tx1"/>
                    </a:gs>
                  </a:gsLst>
                  <a:lin ang="5400000" scaled="0"/>
                </a:gradFill>
                <a:cs typeface="Arial" panose="020B0604020202020204" pitchFamily="34" charset="0"/>
              </a:rPr>
              <a:t> Supports the strategic functions of senior management. Often a balance between simplicity and utility through key performance indicators and business measures displayed in a Dashboard or Scorecard report style.</a:t>
            </a: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p:txBody>
      </p:sp>
      <p:pic>
        <p:nvPicPr>
          <p:cNvPr id="14" name="Picture Placeholder 13">
            <a:extLst>
              <a:ext uri="{FF2B5EF4-FFF2-40B4-BE49-F238E27FC236}">
                <a16:creationId xmlns:a16="http://schemas.microsoft.com/office/drawing/2014/main" id="{C6CE33D9-237F-4A82-9849-8BAB0631B3A5}"/>
              </a:ext>
              <a:ext uri="{C183D7F6-B498-43B3-948B-1728B52AA6E4}">
                <adec:decorative xmlns:adec="http://schemas.microsoft.com/office/drawing/2017/decorative" val="1"/>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a:ext>
            </a:extLst>
          </a:blip>
          <a:srcRect t="12354" b="12354"/>
          <a:stretch/>
        </p:blipFill>
        <p:spPr/>
      </p:pic>
      <p:sp>
        <p:nvSpPr>
          <p:cNvPr id="5" name="Text Placeholder 19">
            <a:extLst>
              <a:ext uri="{FF2B5EF4-FFF2-40B4-BE49-F238E27FC236}">
                <a16:creationId xmlns:a16="http://schemas.microsoft.com/office/drawing/2014/main" id="{05416239-C478-49DF-9C2D-28B9DC9535BB}"/>
              </a:ext>
            </a:extLst>
          </p:cNvPr>
          <p:cNvSpPr txBox="1">
            <a:spLocks/>
          </p:cNvSpPr>
          <p:nvPr/>
        </p:nvSpPr>
        <p:spPr>
          <a:xfrm>
            <a:off x="595840" y="4361208"/>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Ad hoc</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 </a:t>
            </a:r>
            <a:r>
              <a:rPr lang="en-US" sz="1200" dirty="0">
                <a:gradFill>
                  <a:gsLst>
                    <a:gs pos="1250">
                      <a:srgbClr val="000000"/>
                    </a:gs>
                    <a:gs pos="100000">
                      <a:srgbClr val="000000"/>
                    </a:gs>
                  </a:gsLst>
                  <a:lin ang="5400000" scaled="0"/>
                </a:gradFill>
                <a:latin typeface="Segoe UI"/>
                <a:cs typeface="Arial" panose="020B0604020202020204" pitchFamily="34" charset="0"/>
              </a:rPr>
              <a:t>Supports the flexibility of a one-time report, created in real-time for a particular purpose or business necessity. Often summarized in a PivotTable report style.</a:t>
            </a:r>
          </a:p>
        </p:txBody>
      </p:sp>
      <p:sp>
        <p:nvSpPr>
          <p:cNvPr id="3" name="Text Placeholder 19">
            <a:extLst>
              <a:ext uri="{FF2B5EF4-FFF2-40B4-BE49-F238E27FC236}">
                <a16:creationId xmlns:a16="http://schemas.microsoft.com/office/drawing/2014/main" id="{73604D3B-C70C-4FE5-94EE-DF965137597D}"/>
              </a:ext>
            </a:extLst>
          </p:cNvPr>
          <p:cNvSpPr txBox="1">
            <a:spLocks/>
          </p:cNvSpPr>
          <p:nvPr/>
        </p:nvSpPr>
        <p:spPr>
          <a:xfrm>
            <a:off x="595840" y="2953763"/>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Operational</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a:t>
            </a:r>
            <a:r>
              <a:rPr lang="en-US" sz="1200" dirty="0">
                <a:gradFill>
                  <a:gsLst>
                    <a:gs pos="1250">
                      <a:srgbClr val="000000"/>
                    </a:gs>
                    <a:gs pos="100000">
                      <a:srgbClr val="000000"/>
                    </a:gs>
                  </a:gsLst>
                  <a:lin ang="5400000" scaled="0"/>
                </a:gradFill>
                <a:latin typeface="Segoe UI"/>
                <a:cs typeface="Arial" panose="020B0604020202020204" pitchFamily="34" charset="0"/>
              </a:rPr>
              <a:t> Supports an organizations day-to-day functions. Often a highly-formatted and consistent output displayed in a Tabular or List report style.</a:t>
            </a:r>
          </a:p>
        </p:txBody>
      </p:sp>
    </p:spTree>
    <p:extLst>
      <p:ext uri="{BB962C8B-B14F-4D97-AF65-F5344CB8AC3E}">
        <p14:creationId xmlns:p14="http://schemas.microsoft.com/office/powerpoint/2010/main" val="1701519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1000"/>
                                        <p:tgtEl>
                                          <p:spTgt spid="20">
                                            <p:txEl>
                                              <p:pRg st="0" end="0"/>
                                            </p:txEl>
                                          </p:spTgt>
                                        </p:tgtEl>
                                      </p:cBhvr>
                                    </p:animEffect>
                                    <p:anim calcmode="lin" valueType="num">
                                      <p:cBhvr>
                                        <p:cTn id="8" dur="1000" fill="hold"/>
                                        <p:tgtEl>
                                          <p:spTgt spid="2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0">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0">
                                            <p:txEl>
                                              <p:pRg st="1" end="1"/>
                                            </p:txEl>
                                          </p:spTgt>
                                        </p:tgtEl>
                                        <p:attrNameLst>
                                          <p:attrName>style.visibility</p:attrName>
                                        </p:attrNameLst>
                                      </p:cBhvr>
                                      <p:to>
                                        <p:strVal val="visible"/>
                                      </p:to>
                                    </p:set>
                                    <p:animEffect transition="in" filter="fade">
                                      <p:cBhvr>
                                        <p:cTn id="12" dur="1000"/>
                                        <p:tgtEl>
                                          <p:spTgt spid="20">
                                            <p:txEl>
                                              <p:pRg st="1" end="1"/>
                                            </p:txEl>
                                          </p:spTgt>
                                        </p:tgtEl>
                                      </p:cBhvr>
                                    </p:animEffect>
                                    <p:anim calcmode="lin" valueType="num">
                                      <p:cBhvr>
                                        <p:cTn id="13" dur="1000" fill="hold"/>
                                        <p:tgtEl>
                                          <p:spTgt spid="20">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20">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anim calcmode="lin" valueType="num">
                                      <p:cBhvr>
                                        <p:cTn id="20" dur="1000" fill="hold"/>
                                        <p:tgtEl>
                                          <p:spTgt spid="3"/>
                                        </p:tgtEl>
                                        <p:attrNameLst>
                                          <p:attrName>ppt_x</p:attrName>
                                        </p:attrNameLst>
                                      </p:cBhvr>
                                      <p:tavLst>
                                        <p:tav tm="0">
                                          <p:val>
                                            <p:strVal val="#ppt_x"/>
                                          </p:val>
                                        </p:tav>
                                        <p:tav tm="100000">
                                          <p:val>
                                            <p:strVal val="#ppt_x"/>
                                          </p:val>
                                        </p:tav>
                                      </p:tavLst>
                                    </p:anim>
                                    <p:anim calcmode="lin" valueType="num">
                                      <p:cBhvr>
                                        <p:cTn id="2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bldP spid="5" grpId="0"/>
      <p:bldP spid="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p:txBody>
          <a:bodyPr/>
          <a:lstStyle/>
          <a:p>
            <a:r>
              <a:rPr lang="en-US"/>
              <a:t>How does Power BI do it?</a:t>
            </a:r>
          </a:p>
        </p:txBody>
      </p:sp>
    </p:spTree>
    <p:extLst>
      <p:ext uri="{BB962C8B-B14F-4D97-AF65-F5344CB8AC3E}">
        <p14:creationId xmlns:p14="http://schemas.microsoft.com/office/powerpoint/2010/main" val="5419489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Desktop</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grpSp>
        <p:nvGrpSpPr>
          <p:cNvPr id="5" name="Group 4">
            <a:extLst>
              <a:ext uri="{FF2B5EF4-FFF2-40B4-BE49-F238E27FC236}">
                <a16:creationId xmlns:a16="http://schemas.microsoft.com/office/drawing/2014/main" id="{5848C5F4-8DF8-44FC-9ADA-CF248B83CCAB}"/>
              </a:ext>
            </a:extLst>
          </p:cNvPr>
          <p:cNvGrpSpPr/>
          <p:nvPr/>
        </p:nvGrpSpPr>
        <p:grpSpPr>
          <a:xfrm>
            <a:off x="3520855" y="1651416"/>
            <a:ext cx="8238656" cy="4736315"/>
            <a:chOff x="2493436" y="577476"/>
            <a:chExt cx="7789717" cy="4814343"/>
          </a:xfrm>
          <a:solidFill>
            <a:schemeClr val="tx1"/>
          </a:solidFill>
        </p:grpSpPr>
        <p:pic>
          <p:nvPicPr>
            <p:cNvPr id="6" name="Picture 2" descr="Image of Power BI desktop report ">
              <a:extLst>
                <a:ext uri="{FF2B5EF4-FFF2-40B4-BE49-F238E27FC236}">
                  <a16:creationId xmlns:a16="http://schemas.microsoft.com/office/drawing/2014/main" id="{D91B113B-1DD0-46A9-9B97-D3E4104585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3436" y="577476"/>
              <a:ext cx="7789717" cy="4814343"/>
            </a:xfrm>
            <a:prstGeom prst="rect">
              <a:avLst/>
            </a:prstGeom>
            <a:grpFill/>
            <a:ln>
              <a:noFill/>
            </a:ln>
          </p:spPr>
        </p:pic>
        <p:pic>
          <p:nvPicPr>
            <p:cNvPr id="8" name="Picture 7">
              <a:extLst>
                <a:ext uri="{FF2B5EF4-FFF2-40B4-BE49-F238E27FC236}">
                  <a16:creationId xmlns:a16="http://schemas.microsoft.com/office/drawing/2014/main" id="{BEF224D6-56AE-4FD4-B3A1-D1A710A8CD57}"/>
                </a:ext>
              </a:extLst>
            </p:cNvPr>
            <p:cNvPicPr>
              <a:picLocks noChangeAspect="1"/>
            </p:cNvPicPr>
            <p:nvPr/>
          </p:nvPicPr>
          <p:blipFill rotWithShape="1">
            <a:blip r:embed="rId4"/>
            <a:srcRect b="21796"/>
            <a:stretch/>
          </p:blipFill>
          <p:spPr>
            <a:xfrm>
              <a:off x="9386466" y="1279375"/>
              <a:ext cx="776568" cy="3999028"/>
            </a:xfrm>
            <a:prstGeom prst="rect">
              <a:avLst/>
            </a:prstGeom>
            <a:grpFill/>
          </p:spPr>
        </p:pic>
      </p:grpSp>
      <p:pic>
        <p:nvPicPr>
          <p:cNvPr id="12" name="Graphic 11">
            <a:extLst>
              <a:ext uri="{FF2B5EF4-FFF2-40B4-BE49-F238E27FC236}">
                <a16:creationId xmlns:a16="http://schemas.microsoft.com/office/drawing/2014/main" id="{C16DA0F2-2160-41BD-9BA3-6CEDBB87AE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908" y="419271"/>
            <a:ext cx="659787" cy="659787"/>
          </a:xfrm>
          <a:prstGeom prst="rect">
            <a:avLst/>
          </a:prstGeom>
        </p:spPr>
      </p:pic>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Familiar O365 like experience, th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owerPoint for data</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Create </a:t>
            </a:r>
            <a:r>
              <a:rPr lang="en-US" sz="1600" b="1" kern="0" dirty="0">
                <a:gradFill>
                  <a:gsLst>
                    <a:gs pos="0">
                      <a:srgbClr val="000000"/>
                    </a:gs>
                    <a:gs pos="100000">
                      <a:srgbClr val="000000"/>
                    </a:gs>
                  </a:gsLst>
                  <a:lin ang="5400000" scaled="1"/>
                </a:gradFill>
                <a:latin typeface="Segoe UI"/>
                <a:cs typeface="Segoe UI" pitchFamily="34" charset="0"/>
              </a:rPr>
              <a:t>interactive,</a:t>
            </a:r>
            <a:r>
              <a:rPr lang="en-US" sz="1600" kern="0" dirty="0">
                <a:gradFill>
                  <a:gsLst>
                    <a:gs pos="0">
                      <a:srgbClr val="000000"/>
                    </a:gs>
                    <a:gs pos="100000">
                      <a:srgbClr val="000000"/>
                    </a:gs>
                  </a:gsLst>
                  <a:lin ang="5400000" scaled="1"/>
                </a:gradFill>
                <a:latin typeface="Segoe UI"/>
                <a:cs typeface="Segoe UI" pitchFamily="34" charset="0"/>
              </a:rPr>
              <a:t> </a:t>
            </a:r>
            <a:r>
              <a:rPr lang="en-US" sz="1600" b="1" kern="0" dirty="0">
                <a:gradFill>
                  <a:gsLst>
                    <a:gs pos="0">
                      <a:srgbClr val="000000"/>
                    </a:gs>
                    <a:gs pos="100000">
                      <a:srgbClr val="000000"/>
                    </a:gs>
                  </a:gsLst>
                  <a:lin ang="5400000" scaled="1"/>
                </a:gradFill>
                <a:latin typeface="Segoe UI"/>
                <a:cs typeface="Segoe UI" pitchFamily="34" charset="0"/>
              </a:rPr>
              <a:t>immersive</a:t>
            </a:r>
            <a:r>
              <a:rPr lang="en-US" sz="1600" kern="0" dirty="0">
                <a:gradFill>
                  <a:gsLst>
                    <a:gs pos="0">
                      <a:srgbClr val="000000"/>
                    </a:gs>
                    <a:gs pos="100000">
                      <a:srgbClr val="000000"/>
                    </a:gs>
                  </a:gsLst>
                  <a:lin ang="5400000" scaled="1"/>
                </a:gradFill>
                <a:latin typeface="Segoe UI"/>
                <a:cs typeface="Segoe UI" pitchFamily="34" charset="0"/>
              </a:rPr>
              <a:t> reports and dashboards that provide </a:t>
            </a:r>
            <a:r>
              <a:rPr lang="en-US" sz="1600" b="1" kern="0" dirty="0">
                <a:gradFill>
                  <a:gsLst>
                    <a:gs pos="0">
                      <a:srgbClr val="000000"/>
                    </a:gs>
                    <a:gs pos="100000">
                      <a:srgbClr val="000000"/>
                    </a:gs>
                  </a:gsLst>
                  <a:lin ang="5400000" scaled="1"/>
                </a:gradFill>
                <a:latin typeface="Segoe UI"/>
                <a:cs typeface="Segoe UI" pitchFamily="34" charset="0"/>
              </a:rPr>
              <a:t>actionable insights</a:t>
            </a:r>
            <a:r>
              <a:rPr lang="en-US" sz="1600" kern="0" dirty="0">
                <a:gradFill>
                  <a:gsLst>
                    <a:gs pos="0">
                      <a:srgbClr val="000000"/>
                    </a:gs>
                    <a:gs pos="100000">
                      <a:srgbClr val="000000"/>
                    </a:gs>
                  </a:gsLst>
                  <a:lin ang="5400000" scaled="1"/>
                </a:gradFill>
                <a:latin typeface="Segoe UI"/>
                <a:cs typeface="Segoe UI" pitchFamily="34" charset="0"/>
              </a:rPr>
              <a:t> and drive business results</a:t>
            </a:r>
          </a:p>
        </p:txBody>
      </p:sp>
    </p:spTree>
    <p:extLst>
      <p:ext uri="{BB962C8B-B14F-4D97-AF65-F5344CB8AC3E}">
        <p14:creationId xmlns:p14="http://schemas.microsoft.com/office/powerpoint/2010/main" val="142183756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Report Builder</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Create and distribut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highly format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multi-pag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ixel-perfect</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reports</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ea typeface="Segoe UI" pitchFamily="34" charset="0"/>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Use </a:t>
            </a:r>
            <a:r>
              <a:rPr lang="en-US" sz="1600" b="1" kern="0" dirty="0">
                <a:gradFill>
                  <a:gsLst>
                    <a:gs pos="0">
                      <a:srgbClr val="000000"/>
                    </a:gs>
                    <a:gs pos="100000">
                      <a:srgbClr val="000000"/>
                    </a:gs>
                  </a:gsLst>
                  <a:lin ang="5400000" scaled="1"/>
                </a:gradFill>
                <a:latin typeface="Segoe UI"/>
                <a:cs typeface="Segoe UI" pitchFamily="34" charset="0"/>
              </a:rPr>
              <a:t>parameters</a:t>
            </a:r>
            <a:r>
              <a:rPr lang="en-US" sz="1600" kern="0" dirty="0">
                <a:gradFill>
                  <a:gsLst>
                    <a:gs pos="0">
                      <a:srgbClr val="000000"/>
                    </a:gs>
                    <a:gs pos="100000">
                      <a:srgbClr val="000000"/>
                    </a:gs>
                  </a:gsLst>
                  <a:lin ang="5400000" scaled="1"/>
                </a:gradFill>
                <a:latin typeface="Segoe UI"/>
                <a:cs typeface="Segoe UI" pitchFamily="34" charset="0"/>
              </a:rPr>
              <a:t> to filter data for customized views</a:t>
            </a:r>
          </a:p>
          <a:p>
            <a:pPr defTabSz="932649"/>
            <a:endParaRPr lang="en-US" sz="1600" kern="0" dirty="0">
              <a:gradFill>
                <a:gsLst>
                  <a:gs pos="0">
                    <a:srgbClr val="000000"/>
                  </a:gs>
                  <a:gs pos="100000">
                    <a:srgbClr val="000000"/>
                  </a:gs>
                </a:gsLst>
                <a:lin ang="5400000" scaled="1"/>
              </a:gradFill>
              <a:latin typeface="Segoe UI"/>
              <a:cs typeface="Segoe UI" pitchFamily="34" charset="0"/>
            </a:endParaRPr>
          </a:p>
        </p:txBody>
      </p:sp>
      <p:grpSp>
        <p:nvGrpSpPr>
          <p:cNvPr id="2" name="Group 1">
            <a:extLst>
              <a:ext uri="{FF2B5EF4-FFF2-40B4-BE49-F238E27FC236}">
                <a16:creationId xmlns:a16="http://schemas.microsoft.com/office/drawing/2014/main" id="{0E0C7998-5A63-4650-961E-099987FFE401}"/>
              </a:ext>
            </a:extLst>
          </p:cNvPr>
          <p:cNvGrpSpPr/>
          <p:nvPr/>
        </p:nvGrpSpPr>
        <p:grpSpPr>
          <a:xfrm>
            <a:off x="3519991" y="1583510"/>
            <a:ext cx="7777334" cy="4898843"/>
            <a:chOff x="3520439" y="1583266"/>
            <a:chExt cx="7778327" cy="4899468"/>
          </a:xfrm>
        </p:grpSpPr>
        <p:pic>
          <p:nvPicPr>
            <p:cNvPr id="11" name="Picture 10">
              <a:extLst>
                <a:ext uri="{FF2B5EF4-FFF2-40B4-BE49-F238E27FC236}">
                  <a16:creationId xmlns:a16="http://schemas.microsoft.com/office/drawing/2014/main" id="{162DA8AA-7CE9-457F-B11B-4E1EC668ADE6}"/>
                </a:ext>
              </a:extLst>
            </p:cNvPr>
            <p:cNvPicPr>
              <a:picLocks noChangeAspect="1"/>
            </p:cNvPicPr>
            <p:nvPr/>
          </p:nvPicPr>
          <p:blipFill>
            <a:blip r:embed="rId3"/>
            <a:stretch>
              <a:fillRect/>
            </a:stretch>
          </p:blipFill>
          <p:spPr>
            <a:xfrm>
              <a:off x="3520439" y="1583266"/>
              <a:ext cx="7778327" cy="4899468"/>
            </a:xfrm>
            <a:prstGeom prst="rect">
              <a:avLst/>
            </a:prstGeom>
          </p:spPr>
        </p:pic>
        <p:pic>
          <p:nvPicPr>
            <p:cNvPr id="16" name="Picture 15">
              <a:extLst>
                <a:ext uri="{FF2B5EF4-FFF2-40B4-BE49-F238E27FC236}">
                  <a16:creationId xmlns:a16="http://schemas.microsoft.com/office/drawing/2014/main" id="{1FBA2ABA-98E2-4BFA-BE42-88B74B54DEC3}"/>
                </a:ext>
              </a:extLst>
            </p:cNvPr>
            <p:cNvPicPr>
              <a:picLocks noChangeAspect="1"/>
            </p:cNvPicPr>
            <p:nvPr/>
          </p:nvPicPr>
          <p:blipFill>
            <a:blip r:embed="rId4"/>
            <a:stretch>
              <a:fillRect/>
            </a:stretch>
          </p:blipFill>
          <p:spPr>
            <a:xfrm>
              <a:off x="7351611" y="3303809"/>
              <a:ext cx="2194556" cy="2915693"/>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8" name="Straight Connector 17">
              <a:extLst>
                <a:ext uri="{FF2B5EF4-FFF2-40B4-BE49-F238E27FC236}">
                  <a16:creationId xmlns:a16="http://schemas.microsoft.com/office/drawing/2014/main" id="{B6AB6D8C-AC47-4CDA-B5A9-74205E9A56C6}"/>
                </a:ext>
              </a:extLst>
            </p:cNvPr>
            <p:cNvCxnSpPr>
              <a:cxnSpLocks/>
            </p:cNvCxnSpPr>
            <p:nvPr/>
          </p:nvCxnSpPr>
          <p:spPr>
            <a:xfrm>
              <a:off x="4679950" y="4493683"/>
              <a:ext cx="2671661" cy="1725819"/>
            </a:xfrm>
            <a:prstGeom prst="line">
              <a:avLst/>
            </a:prstGeom>
            <a:ln>
              <a:solidFill>
                <a:srgbClr val="393941">
                  <a:alpha val="74902"/>
                </a:srgbClr>
              </a:solidFill>
              <a:headEnd type="none" w="lg" len="med"/>
              <a:tailEnd type="none" w="lg" len="med"/>
            </a:ln>
          </p:spPr>
          <p:style>
            <a:lnRef idx="3">
              <a:schemeClr val="accent1"/>
            </a:lnRef>
            <a:fillRef idx="0">
              <a:schemeClr val="accent1"/>
            </a:fillRef>
            <a:effectRef idx="2">
              <a:schemeClr val="accent1"/>
            </a:effectRef>
            <a:fontRef idx="minor">
              <a:schemeClr val="tx1"/>
            </a:fontRef>
          </p:style>
        </p:cxnSp>
      </p:grpSp>
      <p:pic>
        <p:nvPicPr>
          <p:cNvPr id="6" name="Graphic 5">
            <a:extLst>
              <a:ext uri="{FF2B5EF4-FFF2-40B4-BE49-F238E27FC236}">
                <a16:creationId xmlns:a16="http://schemas.microsoft.com/office/drawing/2014/main" id="{701B6522-0040-4512-9E39-7FD2F616B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14" y="421017"/>
            <a:ext cx="658284" cy="658284"/>
          </a:xfrm>
          <a:prstGeom prst="rect">
            <a:avLst/>
          </a:prstGeom>
        </p:spPr>
      </p:pic>
    </p:spTree>
    <p:extLst>
      <p:ext uri="{BB962C8B-B14F-4D97-AF65-F5344CB8AC3E}">
        <p14:creationId xmlns:p14="http://schemas.microsoft.com/office/powerpoint/2010/main" val="256214259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9" name="Picture Placeholder 6">
            <a:extLst>
              <a:ext uri="{FF2B5EF4-FFF2-40B4-BE49-F238E27FC236}">
                <a16:creationId xmlns:a16="http://schemas.microsoft.com/office/drawing/2014/main" id="{B36F095D-E0D3-4A8B-9C17-478696642137}"/>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3520855" y="1651416"/>
            <a:ext cx="8238656" cy="4269703"/>
          </a:xfrm>
          <a:prstGeom prst="rect">
            <a:avLst/>
          </a:prstGeom>
        </p:spPr>
      </p:pic>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769863"/>
      </p:ext>
    </p:extLst>
  </p:cSld>
  <p:clrMapOvr>
    <a:masterClrMapping/>
  </p:clrMapOvr>
  <mc:AlternateContent xmlns:mc="http://schemas.openxmlformats.org/markup-compatibility/2006">
    <mc:Choice xmlns:p14="http://schemas.microsoft.com/office/powerpoint/2010/main" Requires="p14">
      <p:transition p14:dur="0" advTm="20000"/>
    </mc:Choice>
    <mc:Fallback>
      <p:transition advTm="2000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atasets in Excel">
            <a:extLst>
              <a:ext uri="{FF2B5EF4-FFF2-40B4-BE49-F238E27FC236}">
                <a16:creationId xmlns:a16="http://schemas.microsoft.com/office/drawing/2014/main" id="{5F9566E8-F0E4-45BC-909E-30F3F382A4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854" y="1550158"/>
            <a:ext cx="7670053" cy="490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88570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p:txBody>
          <a:bodyPr/>
          <a:lstStyle/>
          <a:p>
            <a:r>
              <a:rPr lang="en-US" dirty="0"/>
              <a:t>What does a *good report look like?</a:t>
            </a:r>
          </a:p>
        </p:txBody>
      </p:sp>
    </p:spTree>
    <p:extLst>
      <p:ext uri="{BB962C8B-B14F-4D97-AF65-F5344CB8AC3E}">
        <p14:creationId xmlns:p14="http://schemas.microsoft.com/office/powerpoint/2010/main" val="129248904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8" name="Picture 7">
            <a:extLst>
              <a:ext uri="{FF2B5EF4-FFF2-40B4-BE49-F238E27FC236}">
                <a16:creationId xmlns:a16="http://schemas.microsoft.com/office/drawing/2014/main" id="{60B78E5A-3266-3A21-3166-A6A6A17181E8}"/>
              </a:ext>
            </a:extLst>
          </p:cNvPr>
          <p:cNvPicPr>
            <a:picLocks noChangeAspect="1"/>
          </p:cNvPicPr>
          <p:nvPr/>
        </p:nvPicPr>
        <p:blipFill>
          <a:blip r:embed="rId2"/>
          <a:stretch>
            <a:fillRect/>
          </a:stretch>
        </p:blipFill>
        <p:spPr>
          <a:xfrm>
            <a:off x="6533763" y="2250342"/>
            <a:ext cx="5503463" cy="3119490"/>
          </a:xfrm>
          <a:prstGeom prst="rect">
            <a:avLst/>
          </a:prstGeom>
        </p:spPr>
      </p:pic>
      <p:pic>
        <p:nvPicPr>
          <p:cNvPr id="12" name="Picture 11">
            <a:extLst>
              <a:ext uri="{FF2B5EF4-FFF2-40B4-BE49-F238E27FC236}">
                <a16:creationId xmlns:a16="http://schemas.microsoft.com/office/drawing/2014/main" id="{70610828-8D5B-EDE2-9F41-303FA5092B74}"/>
              </a:ext>
            </a:extLst>
          </p:cNvPr>
          <p:cNvPicPr>
            <a:picLocks noChangeAspect="1"/>
          </p:cNvPicPr>
          <p:nvPr/>
        </p:nvPicPr>
        <p:blipFill>
          <a:blip r:embed="rId3"/>
          <a:stretch>
            <a:fillRect/>
          </a:stretch>
        </p:blipFill>
        <p:spPr>
          <a:xfrm>
            <a:off x="492120" y="2245178"/>
            <a:ext cx="5597923" cy="3124653"/>
          </a:xfrm>
          <a:prstGeom prst="rect">
            <a:avLst/>
          </a:prstGeom>
        </p:spPr>
      </p:pic>
      <p:sp>
        <p:nvSpPr>
          <p:cNvPr id="14" name="Oval 13">
            <a:extLst>
              <a:ext uri="{FF2B5EF4-FFF2-40B4-BE49-F238E27FC236}">
                <a16:creationId xmlns:a16="http://schemas.microsoft.com/office/drawing/2014/main" id="{5B17D4CD-FC49-F24B-C059-862FF33106D3}"/>
              </a:ext>
            </a:extLst>
          </p:cNvPr>
          <p:cNvSpPr/>
          <p:nvPr/>
        </p:nvSpPr>
        <p:spPr bwMode="auto">
          <a:xfrm>
            <a:off x="5764630" y="2808515"/>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E2CD5A09-1189-0A50-8890-E54742B512A4}"/>
              </a:ext>
            </a:extLst>
          </p:cNvPr>
          <p:cNvSpPr/>
          <p:nvPr/>
        </p:nvSpPr>
        <p:spPr bwMode="auto">
          <a:xfrm>
            <a:off x="993965" y="4969329"/>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617330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3675316605"/>
              </p:ext>
            </p:extLst>
          </p:nvPr>
        </p:nvGraphicFramePr>
        <p:xfrm>
          <a:off x="465954" y="1249885"/>
          <a:ext cx="11375188" cy="4938569"/>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457200">
                <a:tc gridSpan="3">
                  <a:txBody>
                    <a:bodyPr/>
                    <a:lstStyle/>
                    <a:p>
                      <a:r>
                        <a:rPr lang="en-US" sz="1800" b="0">
                          <a:solidFill>
                            <a:srgbClr val="191919"/>
                          </a:solidFill>
                          <a:latin typeface="+mj-lt"/>
                        </a:rPr>
                        <a:t>Morning</a:t>
                      </a:r>
                      <a:endParaRPr lang="en-IN" sz="1800" b="0" dirty="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7356">
                <a:tc>
                  <a:txBody>
                    <a:bodyPr/>
                    <a:lstStyle/>
                    <a:p>
                      <a:r>
                        <a:rPr lang="en-US" sz="1400">
                          <a:solidFill>
                            <a:schemeClr val="tx1"/>
                          </a:solidFill>
                        </a:rPr>
                        <a:t>9:00 AM – 9: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Introductions, retrospective and setup</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0949">
                <a:tc>
                  <a:txBody>
                    <a:bodyPr/>
                    <a:lstStyle/>
                    <a:p>
                      <a:r>
                        <a:rPr lang="en-US" sz="1400" dirty="0">
                          <a:solidFill>
                            <a:schemeClr val="tx1"/>
                          </a:solidFill>
                        </a:rPr>
                        <a:t>9:15 AM – 10: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endParaRPr lang="en-US" sz="12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7356">
                <a:tc>
                  <a:txBody>
                    <a:bodyPr/>
                    <a:lstStyle/>
                    <a:p>
                      <a:pPr marL="0" algn="l" defTabSz="951209" rtl="0" eaLnBrk="1" latinLnBrk="0" hangingPunct="1"/>
                      <a:r>
                        <a:rPr lang="en-US" sz="1400" kern="1200">
                          <a:solidFill>
                            <a:schemeClr val="tx1"/>
                          </a:solidFill>
                          <a:latin typeface="+mj-lt"/>
                          <a:ea typeface="+mn-ea"/>
                          <a:cs typeface="+mn-cs"/>
                        </a:rPr>
                        <a:t>10:30 AM – 11:00 A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33078290"/>
                  </a:ext>
                </a:extLst>
              </a:tr>
              <a:tr h="430949">
                <a:tc>
                  <a:txBody>
                    <a:bodyPr/>
                    <a:lstStyle/>
                    <a:p>
                      <a:r>
                        <a:rPr lang="en-US" sz="1400">
                          <a:solidFill>
                            <a:schemeClr val="tx1"/>
                          </a:solidFill>
                        </a:rPr>
                        <a:t>11: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Scott Sewell</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7356">
                <a:tc>
                  <a:txBody>
                    <a:bodyPr/>
                    <a:lstStyle/>
                    <a:p>
                      <a:r>
                        <a:rPr lang="en-US" sz="1400">
                          <a:solidFill>
                            <a:schemeClr val="tx1"/>
                          </a:solidFill>
                          <a:latin typeface="+mj-lt"/>
                        </a:rPr>
                        <a:t>12:00 PM – 1:00 P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400">
                          <a:solidFill>
                            <a:schemeClr val="tx1"/>
                          </a:solidFill>
                          <a:latin typeface="+mj-lt"/>
                        </a:rPr>
                        <a:t>Break for lunch</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9600049"/>
                  </a:ext>
                </a:extLst>
              </a:tr>
              <a:tr h="457200">
                <a:tc gridSpan="3">
                  <a:txBody>
                    <a:bodyPr/>
                    <a:lstStyle/>
                    <a:p>
                      <a:pPr marL="0" algn="l" defTabSz="914367" rtl="0" eaLnBrk="1" latinLnBrk="0" hangingPunct="1"/>
                      <a:r>
                        <a:rPr lang="en-IN" sz="1800" b="0" kern="1200">
                          <a:solidFill>
                            <a:srgbClr val="191919"/>
                          </a:solidFill>
                          <a:latin typeface="+mj-lt"/>
                          <a:ea typeface="+mn-ea"/>
                          <a:cs typeface="+mn-cs"/>
                        </a:rPr>
                        <a:t>Afternoon</a:t>
                      </a:r>
                      <a:endParaRPr lang="en-IN" sz="1800" b="0" kern="1200" dirty="0">
                        <a:solidFill>
                          <a:srgbClr val="191919"/>
                        </a:solidFill>
                        <a:latin typeface="+mj-lt"/>
                        <a:ea typeface="+mn-ea"/>
                        <a:cs typeface="+mn-cs"/>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0949">
                <a:tc>
                  <a:txBody>
                    <a:bodyPr/>
                    <a:lstStyle/>
                    <a:p>
                      <a:r>
                        <a:rPr lang="en-US" sz="1400">
                          <a:solidFill>
                            <a:schemeClr val="tx1"/>
                          </a:solidFill>
                        </a:rPr>
                        <a:t>1:00 PM – 2:0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Scott Sewell</a:t>
                      </a:r>
                      <a:endParaRPr lang="en-IN" sz="1200" kern="1200" dirty="0">
                        <a:solidFill>
                          <a:schemeClr val="tx1"/>
                        </a:solidFill>
                        <a:latin typeface="+mn-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modeling (continued)</a:t>
                      </a:r>
                      <a:endParaRPr lang="en-US" sz="14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30949">
                <a:tc>
                  <a:txBody>
                    <a:bodyPr/>
                    <a:lstStyle/>
                    <a:p>
                      <a:pPr marL="0" algn="l" defTabSz="951209" rtl="0" eaLnBrk="1" latinLnBrk="0" hangingPunct="1"/>
                      <a:r>
                        <a:rPr lang="en-US" sz="1400" kern="1200">
                          <a:solidFill>
                            <a:schemeClr val="tx1"/>
                          </a:solidFill>
                          <a:latin typeface="+mj-lt"/>
                          <a:ea typeface="+mn-ea"/>
                          <a:cs typeface="+mn-cs"/>
                        </a:rPr>
                        <a:t>2:00 PM – 2:15 P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9367373"/>
                  </a:ext>
                </a:extLst>
              </a:tr>
              <a:tr h="430949">
                <a:tc>
                  <a:txBody>
                    <a:bodyPr/>
                    <a:lstStyle/>
                    <a:p>
                      <a:r>
                        <a:rPr lang="en-IN" sz="1400">
                          <a:solidFill>
                            <a:schemeClr val="tx1"/>
                          </a:solidFill>
                        </a:rPr>
                        <a:t>2:15 PM – 3: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Dan Evan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1209" rtl="0" eaLnBrk="1" fontAlgn="auto" latinLnBrk="0" hangingPunct="1">
                        <a:lnSpc>
                          <a:spcPct val="100000"/>
                        </a:lnSpc>
                        <a:spcBef>
                          <a:spcPts val="0"/>
                        </a:spcBef>
                        <a:spcAft>
                          <a:spcPts val="0"/>
                        </a:spcAft>
                        <a:buClrTx/>
                        <a:buSzTx/>
                        <a:buFontTx/>
                        <a:buNone/>
                        <a:tabLst/>
                        <a:defRPr/>
                      </a:pPr>
                      <a:r>
                        <a:rPr lang="en-US" sz="1400">
                          <a:solidFill>
                            <a:schemeClr val="tx1"/>
                          </a:solidFill>
                        </a:rPr>
                        <a:t>Data visualization</a:t>
                      </a:r>
                      <a:endParaRPr lang="en-US" sz="14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6176627"/>
                  </a:ext>
                </a:extLst>
              </a:tr>
              <a:tr h="467356">
                <a:tc>
                  <a:txBody>
                    <a:bodyPr/>
                    <a:lstStyle/>
                    <a:p>
                      <a:pPr marL="0" algn="l" defTabSz="951209" rtl="0" eaLnBrk="1" latinLnBrk="0" hangingPunct="1"/>
                      <a:r>
                        <a:rPr lang="en-IN" sz="1400" kern="1200">
                          <a:solidFill>
                            <a:schemeClr val="tx1"/>
                          </a:solidFill>
                          <a:latin typeface="+mj-lt"/>
                          <a:ea typeface="+mn-ea"/>
                          <a:cs typeface="+mn-cs"/>
                        </a:rPr>
                        <a:t>3:30 PM – 4:00 P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IN" sz="1600" b="1"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Closing thoughts and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6484650"/>
            <a:ext cx="11375188" cy="307777"/>
          </a:xfrm>
          <a:prstGeom prst="rect">
            <a:avLst/>
          </a:prstGeom>
          <a:noFill/>
          <a:ln w="3175">
            <a:solidFill>
              <a:schemeClr val="tx1"/>
            </a:solidFill>
          </a:ln>
        </p:spPr>
        <p:txBody>
          <a:bodyPr wrap="square">
            <a:spAutoFit/>
          </a:bodyPr>
          <a:lstStyle/>
          <a:p>
            <a:r>
              <a:rPr lang="en-US" sz="1400" b="0" i="0" dirty="0">
                <a:solidFill>
                  <a:srgbClr val="24292F"/>
                </a:solidFill>
                <a:effectLst/>
                <a:latin typeface="-apple-system"/>
              </a:rPr>
              <a:t>This workshop assumes that you have a working knowledge of report authoring using Power BI Desktop and content sharing via the Power BI service.</a:t>
            </a:r>
            <a:endParaRPr lang="en-US" sz="1400" dirty="0"/>
          </a:p>
        </p:txBody>
      </p:sp>
    </p:spTree>
    <p:extLst>
      <p:ext uri="{BB962C8B-B14F-4D97-AF65-F5344CB8AC3E}">
        <p14:creationId xmlns:p14="http://schemas.microsoft.com/office/powerpoint/2010/main" val="153193602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4" name="Picture 3">
            <a:extLst>
              <a:ext uri="{FF2B5EF4-FFF2-40B4-BE49-F238E27FC236}">
                <a16:creationId xmlns:a16="http://schemas.microsoft.com/office/drawing/2014/main" id="{27415982-6F54-9633-EC50-02F2CF52653A}"/>
              </a:ext>
            </a:extLst>
          </p:cNvPr>
          <p:cNvPicPr>
            <a:picLocks noChangeAspect="1"/>
          </p:cNvPicPr>
          <p:nvPr/>
        </p:nvPicPr>
        <p:blipFill>
          <a:blip r:embed="rId2"/>
          <a:stretch>
            <a:fillRect/>
          </a:stretch>
        </p:blipFill>
        <p:spPr>
          <a:xfrm>
            <a:off x="1616869" y="1528724"/>
            <a:ext cx="9201150" cy="4999499"/>
          </a:xfrm>
          <a:prstGeom prst="rect">
            <a:avLst/>
          </a:prstGeom>
        </p:spPr>
      </p:pic>
    </p:spTree>
    <p:extLst>
      <p:ext uri="{BB962C8B-B14F-4D97-AF65-F5344CB8AC3E}">
        <p14:creationId xmlns:p14="http://schemas.microsoft.com/office/powerpoint/2010/main" val="143942602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5" name="Picture 4">
            <a:extLst>
              <a:ext uri="{FF2B5EF4-FFF2-40B4-BE49-F238E27FC236}">
                <a16:creationId xmlns:a16="http://schemas.microsoft.com/office/drawing/2014/main" id="{C9E89DCD-D393-A7C6-ECA3-82064A37B25A}"/>
              </a:ext>
            </a:extLst>
          </p:cNvPr>
          <p:cNvPicPr>
            <a:picLocks noChangeAspect="1"/>
          </p:cNvPicPr>
          <p:nvPr/>
        </p:nvPicPr>
        <p:blipFill>
          <a:blip r:embed="rId2"/>
          <a:stretch>
            <a:fillRect/>
          </a:stretch>
        </p:blipFill>
        <p:spPr>
          <a:xfrm>
            <a:off x="1665176" y="1513727"/>
            <a:ext cx="9104535" cy="5244034"/>
          </a:xfrm>
          <a:prstGeom prst="rect">
            <a:avLst/>
          </a:prstGeom>
        </p:spPr>
      </p:pic>
    </p:spTree>
    <p:extLst>
      <p:ext uri="{BB962C8B-B14F-4D97-AF65-F5344CB8AC3E}">
        <p14:creationId xmlns:p14="http://schemas.microsoft.com/office/powerpoint/2010/main" val="107986465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Audience</a:t>
              </a:r>
            </a:p>
            <a:p>
              <a:pPr lvl="1"/>
              <a:r>
                <a:rPr lang="en-US" dirty="0"/>
                <a:t>Executive</a:t>
              </a:r>
            </a:p>
            <a:p>
              <a:pPr lvl="1"/>
              <a:r>
                <a:rPr lang="en-US" dirty="0"/>
                <a:t>Analyst</a:t>
              </a:r>
            </a:p>
            <a:p>
              <a:pPr lvl="1"/>
              <a:r>
                <a:rPr lang="en-US" dirty="0"/>
                <a:t>Information worker</a:t>
              </a:r>
            </a:p>
            <a:p>
              <a:r>
                <a:rPr lang="en-US" dirty="0"/>
                <a:t>Report type</a:t>
              </a:r>
            </a:p>
            <a:p>
              <a:pPr lvl="1"/>
              <a:r>
                <a:rPr lang="en-US" dirty="0"/>
                <a:t>Dashboard</a:t>
              </a:r>
            </a:p>
            <a:p>
              <a:pPr lvl="1"/>
              <a:r>
                <a:rPr lang="en-US" dirty="0"/>
                <a:t>Analytical</a:t>
              </a:r>
            </a:p>
            <a:p>
              <a:pPr lvl="1"/>
              <a:r>
                <a:rPr lang="en-US" dirty="0"/>
                <a:t>Operational</a:t>
              </a:r>
            </a:p>
            <a:p>
              <a:pPr lvl="1"/>
              <a:r>
                <a:rPr lang="en-US" dirty="0"/>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ECC999B0-6168-6E70-CD9A-A32E4F2F0FEB}"/>
              </a:ext>
            </a:extLst>
          </p:cNvPr>
          <p:cNvSpPr txBox="1"/>
          <p:nvPr/>
        </p:nvSpPr>
        <p:spPr>
          <a:xfrm>
            <a:off x="8153810" y="1803090"/>
            <a:ext cx="4458366" cy="1246495"/>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b="1" dirty="0">
                <a:solidFill>
                  <a:srgbClr val="000000"/>
                </a:solidFill>
                <a:highlight>
                  <a:srgbClr val="F2C811"/>
                </a:highlight>
                <a:latin typeface="Nexa Heavy" panose="02000000000000000000" pitchFamily="2" charset="0"/>
                <a:cs typeface="Segoe UI Semibold" panose="020B0702040204020203" pitchFamily="34" charset="0"/>
              </a:rPr>
              <a:t>EMPATHIZ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WITH YOUR </a:t>
            </a:r>
            <a:r>
              <a:rPr lang="en-US" sz="2000" dirty="0">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nduct research to develop an understanding of your users</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721763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quirements Gathering</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User interface (UI) requirements</a:t>
            </a:r>
          </a:p>
          <a:p>
            <a:pPr lvl="1"/>
            <a:r>
              <a:rPr lang="en-US" dirty="0"/>
              <a:t>Form factor (screen/device)</a:t>
            </a:r>
          </a:p>
          <a:p>
            <a:pPr lvl="1"/>
            <a:r>
              <a:rPr lang="en-US" dirty="0"/>
              <a:t>Input method (device)</a:t>
            </a:r>
          </a:p>
          <a:p>
            <a:pPr lvl="1"/>
            <a:r>
              <a:rPr lang="en-US" dirty="0"/>
              <a:t>Style and theme (branding)</a:t>
            </a:r>
          </a:p>
          <a:p>
            <a:pPr lvl="1"/>
            <a:r>
              <a:rPr lang="en-US" dirty="0"/>
              <a:t>Accessibility (physical disability)</a:t>
            </a:r>
          </a:p>
          <a:p>
            <a:r>
              <a:rPr lang="en-US" dirty="0"/>
              <a:t>User experience (UX) requirements</a:t>
            </a:r>
          </a:p>
          <a:p>
            <a:pPr lvl="1"/>
            <a:r>
              <a:rPr lang="en-US" dirty="0"/>
              <a:t>Interactions</a:t>
            </a:r>
          </a:p>
          <a:p>
            <a:pPr lvl="1"/>
            <a:r>
              <a:rPr lang="en-US" dirty="0"/>
              <a:t>Input/actions</a:t>
            </a:r>
          </a:p>
          <a:p>
            <a:pPr lvl="1"/>
            <a:r>
              <a:rPr lang="en-US" dirty="0"/>
              <a:t>Alerts</a:t>
            </a:r>
          </a:p>
          <a:p>
            <a:pPr lvl="1"/>
            <a:r>
              <a:rPr lang="en-US" dirty="0"/>
              <a:t>Links</a:t>
            </a:r>
          </a:p>
          <a:p>
            <a:pPr lvl="1"/>
            <a:r>
              <a:rPr lang="en-US" dirty="0"/>
              <a:t>Subscribing</a:t>
            </a:r>
          </a:p>
        </p:txBody>
      </p:sp>
      <p:sp>
        <p:nvSpPr>
          <p:cNvPr id="4" name="TextBox 3">
            <a:extLst>
              <a:ext uri="{FF2B5EF4-FFF2-40B4-BE49-F238E27FC236}">
                <a16:creationId xmlns:a16="http://schemas.microsoft.com/office/drawing/2014/main" id="{1798A255-6512-D0FC-2262-92E3FE6D66B0}"/>
              </a:ext>
            </a:extLst>
          </p:cNvPr>
          <p:cNvSpPr txBox="1"/>
          <p:nvPr/>
        </p:nvSpPr>
        <p:spPr>
          <a:xfrm>
            <a:off x="7982631" y="2092797"/>
            <a:ext cx="3439205" cy="1708160"/>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dirty="0">
                <a:solidFill>
                  <a:srgbClr val="FFFFFF"/>
                </a:solidFill>
                <a:highlight>
                  <a:srgbClr val="ED7D31"/>
                </a:highlight>
                <a:latin typeface="Nexa Heavy" panose="02000000000000000000" pitchFamily="2" charset="0"/>
                <a:cs typeface="Segoe UI Semibold" panose="020B0702040204020203" pitchFamily="34" charset="0"/>
              </a:rPr>
              <a:t>DEFIN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THE </a:t>
            </a:r>
            <a:r>
              <a:rPr lang="en-US" sz="2000" dirty="0">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mbine all research and observe where your users’ problems &amp; needs will exist</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0829278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654916"/>
            <a:ext cx="11237870" cy="2246256"/>
          </a:xfrm>
        </p:spPr>
        <p:txBody>
          <a:bodyPr/>
          <a:lstStyle/>
          <a:p>
            <a:r>
              <a:rPr lang="en-US" sz="3649" dirty="0">
                <a:ea typeface="Times New Roman" panose="02020603050405020304" pitchFamily="18" charset="0"/>
                <a:cs typeface="Segoe UI"/>
              </a:rPr>
              <a:t>Report design:</a:t>
            </a:r>
            <a:br>
              <a:rPr lang="en-US" sz="3649" dirty="0">
                <a:ea typeface="Times New Roman" panose="02020603050405020304" pitchFamily="18" charset="0"/>
                <a:cs typeface="Segoe UI"/>
              </a:rPr>
            </a:br>
            <a:r>
              <a:rPr lang="en-US" sz="3649" dirty="0">
                <a:latin typeface="+mn-lt"/>
                <a:ea typeface="Times New Roman" panose="02020603050405020304" pitchFamily="18" charset="0"/>
                <a:cs typeface="Segoe UI"/>
              </a:rPr>
              <a:t>Structur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esign Tools</a:t>
            </a:r>
            <a:br>
              <a:rPr lang="en-US" sz="3649" dirty="0">
                <a:latin typeface="+mn-lt"/>
                <a:ea typeface="Times New Roman" panose="02020603050405020304" pitchFamily="18" charset="0"/>
                <a:cs typeface="Segoe UI"/>
              </a:rPr>
            </a:br>
            <a:r>
              <a:rPr lang="en-US" sz="3649" dirty="0">
                <a:latin typeface="+mn-lt"/>
                <a:ea typeface="Times New Roman" panose="02020603050405020304" pitchFamily="18" charset="0"/>
                <a:cs typeface="Segoe UI"/>
              </a:rPr>
              <a:t>Testing</a:t>
            </a:r>
            <a:endParaRPr lang="en-US" sz="4399" dirty="0">
              <a:cs typeface="Segoe UI"/>
            </a:endParaRPr>
          </a:p>
        </p:txBody>
      </p:sp>
    </p:spTree>
    <p:extLst>
      <p:ext uri="{BB962C8B-B14F-4D97-AF65-F5344CB8AC3E}">
        <p14:creationId xmlns:p14="http://schemas.microsoft.com/office/powerpoint/2010/main" val="334946591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b="1" dirty="0"/>
              <a:t>Report pages </a:t>
            </a:r>
            <a:r>
              <a:rPr lang="en-US" dirty="0"/>
              <a:t>– like worksheets in Excel</a:t>
            </a:r>
          </a:p>
          <a:p>
            <a:r>
              <a:rPr lang="en-US" b="1" dirty="0"/>
              <a:t>Report objects</a:t>
            </a:r>
          </a:p>
          <a:p>
            <a:pPr lvl="1"/>
            <a:r>
              <a:rPr lang="en-US" dirty="0"/>
              <a:t>Visuals – visualize data</a:t>
            </a:r>
          </a:p>
          <a:p>
            <a:pPr lvl="1"/>
            <a:r>
              <a:rPr lang="en-US" dirty="0"/>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Building Steps</a:t>
            </a:r>
          </a:p>
        </p:txBody>
      </p:sp>
      <p:sp>
        <p:nvSpPr>
          <p:cNvPr id="2" name="Text Placeholder 2">
            <a:extLst>
              <a:ext uri="{FF2B5EF4-FFF2-40B4-BE49-F238E27FC236}">
                <a16:creationId xmlns:a16="http://schemas.microsoft.com/office/drawing/2014/main" id="{7C1440B5-102A-2341-0CD4-C7052D186262}"/>
              </a:ext>
            </a:extLst>
          </p:cNvPr>
          <p:cNvSpPr txBox="1">
            <a:spLocks/>
          </p:cNvSpPr>
          <p:nvPr/>
        </p:nvSpPr>
        <p:spPr>
          <a:xfrm>
            <a:off x="595840" y="1464334"/>
            <a:ext cx="11238029" cy="532398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14299" indent="-514299">
              <a:buFont typeface="+mj-lt"/>
              <a:buAutoNum type="arabicPeriod"/>
            </a:pPr>
            <a:r>
              <a:rPr lang="en-US" dirty="0"/>
              <a:t>Create visuals</a:t>
            </a:r>
          </a:p>
          <a:p>
            <a:pPr marL="514299" indent="-514299">
              <a:buFont typeface="+mj-lt"/>
              <a:buAutoNum type="arabicPeriod"/>
            </a:pPr>
            <a:r>
              <a:rPr lang="en-US" dirty="0"/>
              <a:t>Add margins </a:t>
            </a:r>
            <a:r>
              <a:rPr lang="en-US" b="1" dirty="0"/>
              <a:t>*</a:t>
            </a:r>
          </a:p>
          <a:p>
            <a:pPr marL="514299" indent="-514299">
              <a:buFont typeface="+mj-lt"/>
              <a:buAutoNum type="arabicPeriod"/>
            </a:pPr>
            <a:r>
              <a:rPr lang="en-US" dirty="0"/>
              <a:t>Redistribute to logical sections </a:t>
            </a:r>
            <a:r>
              <a:rPr lang="en-US" b="1" dirty="0"/>
              <a:t>*</a:t>
            </a:r>
          </a:p>
          <a:p>
            <a:pPr marL="514299" indent="-514299">
              <a:buFont typeface="+mj-lt"/>
              <a:buAutoNum type="arabicPeriod"/>
            </a:pPr>
            <a:r>
              <a:rPr lang="en-US" dirty="0"/>
              <a:t>Modify visual selection</a:t>
            </a:r>
          </a:p>
          <a:p>
            <a:pPr marL="514299" indent="-514299">
              <a:buFont typeface="+mj-lt"/>
              <a:buAutoNum type="arabicPeriod"/>
            </a:pPr>
            <a:r>
              <a:rPr lang="en-US" dirty="0"/>
              <a:t>Formatting &amp; alignment</a:t>
            </a:r>
          </a:p>
          <a:p>
            <a:pPr marL="514299" indent="-514299">
              <a:buFont typeface="+mj-lt"/>
              <a:buAutoNum type="arabicPeriod"/>
            </a:pPr>
            <a:r>
              <a:rPr lang="en-US" dirty="0"/>
              <a:t>Background shapes </a:t>
            </a:r>
            <a:r>
              <a:rPr lang="en-US" b="1" dirty="0"/>
              <a:t>*</a:t>
            </a:r>
          </a:p>
          <a:p>
            <a:pPr marL="514299" indent="-514299">
              <a:buFont typeface="+mj-lt"/>
              <a:buAutoNum type="arabicPeriod"/>
            </a:pPr>
            <a:r>
              <a:rPr lang="en-US" dirty="0"/>
              <a:t>Labeling </a:t>
            </a:r>
            <a:r>
              <a:rPr lang="en-US" b="1" dirty="0"/>
              <a:t>*</a:t>
            </a:r>
          </a:p>
          <a:p>
            <a:pPr marL="514299" indent="-514299">
              <a:buFont typeface="+mj-lt"/>
              <a:buAutoNum type="arabicPeriod"/>
            </a:pPr>
            <a:endParaRPr lang="en-US" dirty="0"/>
          </a:p>
          <a:p>
            <a:pPr marL="0" indent="0">
              <a:buFont typeface="Wingdings" panose="05000000000000000000" pitchFamily="2" charset="2"/>
              <a:buNone/>
            </a:pPr>
            <a:r>
              <a:rPr lang="en-US" sz="2800" b="1" dirty="0"/>
              <a:t>*</a:t>
            </a:r>
            <a:r>
              <a:rPr lang="en-US" sz="2800" dirty="0"/>
              <a:t>Can partially be handled using a background image</a:t>
            </a:r>
            <a:endParaRPr lang="en-DK" sz="2800" dirty="0"/>
          </a:p>
        </p:txBody>
      </p:sp>
    </p:spTree>
    <p:extLst>
      <p:ext uri="{BB962C8B-B14F-4D97-AF65-F5344CB8AC3E}">
        <p14:creationId xmlns:p14="http://schemas.microsoft.com/office/powerpoint/2010/main" val="22980760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Layout</a:t>
            </a:r>
          </a:p>
        </p:txBody>
      </p:sp>
      <p:sp>
        <p:nvSpPr>
          <p:cNvPr id="4" name="Text Placeholder 2">
            <a:extLst>
              <a:ext uri="{FF2B5EF4-FFF2-40B4-BE49-F238E27FC236}">
                <a16:creationId xmlns:a16="http://schemas.microsoft.com/office/drawing/2014/main" id="{8EECFA92-CF8D-A089-715D-75DD10DC6A37}"/>
              </a:ext>
            </a:extLst>
          </p:cNvPr>
          <p:cNvSpPr txBox="1">
            <a:spLocks/>
          </p:cNvSpPr>
          <p:nvPr/>
        </p:nvSpPr>
        <p:spPr>
          <a:xfrm>
            <a:off x="595915" y="1464074"/>
            <a:ext cx="11239464" cy="2913490"/>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Placement – reading order (e.g., left to right)</a:t>
            </a:r>
          </a:p>
          <a:p>
            <a:r>
              <a:rPr lang="en-US" dirty="0"/>
              <a:t>Balance – stability and structure in design</a:t>
            </a:r>
          </a:p>
          <a:p>
            <a:r>
              <a:rPr lang="en-US" dirty="0"/>
              <a:t>Proximity – place related objects close to each other</a:t>
            </a:r>
          </a:p>
          <a:p>
            <a:r>
              <a:rPr lang="en-US" dirty="0"/>
              <a:t>Contrast – to highlight important content</a:t>
            </a:r>
          </a:p>
          <a:p>
            <a:r>
              <a:rPr lang="en-US" dirty="0"/>
              <a:t>Repetition – create association and consistency</a:t>
            </a:r>
          </a:p>
        </p:txBody>
      </p:sp>
      <p:pic>
        <p:nvPicPr>
          <p:cNvPr id="6" name="Picture 2" descr="Image shows an example of a report layout that has a key metrics section highlighted in a red box.">
            <a:extLst>
              <a:ext uri="{FF2B5EF4-FFF2-40B4-BE49-F238E27FC236}">
                <a16:creationId xmlns:a16="http://schemas.microsoft.com/office/drawing/2014/main" id="{CD411D05-CE00-E455-98F0-66AA9D0636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7444" y="4108102"/>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36986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Design Tools</a:t>
            </a:r>
          </a:p>
        </p:txBody>
      </p:sp>
      <p:sp>
        <p:nvSpPr>
          <p:cNvPr id="4" name="Text Placeholder 2">
            <a:extLst>
              <a:ext uri="{FF2B5EF4-FFF2-40B4-BE49-F238E27FC236}">
                <a16:creationId xmlns:a16="http://schemas.microsoft.com/office/drawing/2014/main" id="{836EB69B-7794-7F04-09D0-935915D0F407}"/>
              </a:ext>
            </a:extLst>
          </p:cNvPr>
          <p:cNvSpPr txBox="1">
            <a:spLocks/>
          </p:cNvSpPr>
          <p:nvPr/>
        </p:nvSpPr>
        <p:spPr>
          <a:xfrm>
            <a:off x="595915" y="1464074"/>
            <a:ext cx="11239464" cy="4520918"/>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Format commands (Format ribbon, help to arrange objects)</a:t>
            </a:r>
          </a:p>
          <a:p>
            <a:r>
              <a:rPr lang="en-US" dirty="0"/>
              <a:t>Selection pane (Layer order, Tab order)</a:t>
            </a:r>
          </a:p>
          <a:p>
            <a:r>
              <a:rPr lang="en-US" dirty="0"/>
              <a:t>Report layout options (View ribbon, gridlines, snap to grid, lock objects)</a:t>
            </a:r>
          </a:p>
          <a:p>
            <a:r>
              <a:rPr lang="en-US" dirty="0"/>
              <a:t>Page view (View ribbon, fit to page, fit to width, show actual size)</a:t>
            </a:r>
          </a:p>
          <a:p>
            <a:r>
              <a:rPr lang="en-US" dirty="0"/>
              <a:t>Undo/redo (CTRL+Z or CTRL +Y)</a:t>
            </a:r>
          </a:p>
          <a:p>
            <a:pPr marL="0" indent="0">
              <a:buFont typeface="Wingdings" panose="05000000000000000000" pitchFamily="2" charset="2"/>
              <a:buNone/>
            </a:pPr>
            <a:endParaRPr lang="en-US" b="1" dirty="0"/>
          </a:p>
        </p:txBody>
      </p:sp>
    </p:spTree>
    <p:extLst>
      <p:ext uri="{BB962C8B-B14F-4D97-AF65-F5344CB8AC3E}">
        <p14:creationId xmlns:p14="http://schemas.microsoft.com/office/powerpoint/2010/main" val="290926315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EF5B23A0-2CB8-C002-5CC8-B681BD8D0B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A2F44B1A-37A7-56DE-6C71-0EA6D0948895}"/>
              </a:ext>
            </a:extLst>
          </p:cNvPr>
          <p:cNvSpPr txBox="1">
            <a:spLocks/>
          </p:cNvSpPr>
          <p:nvPr/>
        </p:nvSpPr>
        <p:spPr>
          <a:xfrm>
            <a:off x="595840" y="1464334"/>
            <a:ext cx="11238029" cy="4871609"/>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You can filter at five different levels</a:t>
            </a:r>
          </a:p>
          <a:p>
            <a:pPr lvl="1"/>
            <a:r>
              <a:rPr lang="en-US" dirty="0"/>
              <a:t>Dataset (RLS)</a:t>
            </a:r>
          </a:p>
          <a:p>
            <a:pPr lvl="1"/>
            <a:r>
              <a:rPr lang="en-US" dirty="0"/>
              <a:t>Report</a:t>
            </a:r>
          </a:p>
          <a:p>
            <a:pPr lvl="1"/>
            <a:r>
              <a:rPr lang="en-US" dirty="0"/>
              <a:t>Page</a:t>
            </a:r>
          </a:p>
          <a:p>
            <a:pPr lvl="1"/>
            <a:r>
              <a:rPr lang="en-US" dirty="0"/>
              <a:t>Visual</a:t>
            </a:r>
          </a:p>
          <a:p>
            <a:pPr lvl="1"/>
            <a:r>
              <a:rPr lang="en-US" dirty="0"/>
              <a:t>Measure (using DAX/Report-level measure)</a:t>
            </a:r>
          </a:p>
          <a:p>
            <a:r>
              <a:rPr lang="en-US" dirty="0"/>
              <a:t>Filter using</a:t>
            </a:r>
          </a:p>
          <a:p>
            <a:pPr lvl="1"/>
            <a:r>
              <a:rPr lang="en-US" dirty="0"/>
              <a:t>Filter pane	</a:t>
            </a:r>
          </a:p>
          <a:p>
            <a:pPr lvl="1"/>
            <a:r>
              <a:rPr lang="en-US" dirty="0"/>
              <a:t>Slicers</a:t>
            </a:r>
          </a:p>
          <a:p>
            <a:endParaRPr lang="en-US" dirty="0"/>
          </a:p>
        </p:txBody>
      </p:sp>
    </p:spTree>
    <p:extLst>
      <p:ext uri="{BB962C8B-B14F-4D97-AF65-F5344CB8AC3E}">
        <p14:creationId xmlns:p14="http://schemas.microsoft.com/office/powerpoint/2010/main" val="176577451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dirty="0"/>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 Pane or Slicer</a:t>
            </a:r>
          </a:p>
        </p:txBody>
      </p:sp>
      <p:sp>
        <p:nvSpPr>
          <p:cNvPr id="7" name="Text Placeholder 2">
            <a:extLst>
              <a:ext uri="{FF2B5EF4-FFF2-40B4-BE49-F238E27FC236}">
                <a16:creationId xmlns:a16="http://schemas.microsoft.com/office/drawing/2014/main" id="{178C877C-F79F-5F8E-D401-7CA47E7DF657}"/>
              </a:ext>
            </a:extLst>
          </p:cNvPr>
          <p:cNvSpPr txBox="1">
            <a:spLocks/>
          </p:cNvSpPr>
          <p:nvPr/>
        </p:nvSpPr>
        <p:spPr>
          <a:xfrm>
            <a:off x="595915" y="1464074"/>
            <a:ext cx="11697685" cy="329000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dirty="0"/>
              <a:t>Filter pane</a:t>
            </a:r>
          </a:p>
          <a:p>
            <a:pPr lvl="1"/>
            <a:r>
              <a:rPr lang="en-US" dirty="0"/>
              <a:t>Advantages; same location, advanced filtering, better performance</a:t>
            </a:r>
          </a:p>
          <a:p>
            <a:pPr lvl="1"/>
            <a:r>
              <a:rPr lang="en-US" dirty="0"/>
              <a:t>Disadvantages; less design flexibility, more difficult to see which filters are applied</a:t>
            </a:r>
          </a:p>
          <a:p>
            <a:pPr lvl="1"/>
            <a:endParaRPr lang="en-US" dirty="0"/>
          </a:p>
          <a:p>
            <a:pPr marL="0" indent="0">
              <a:buNone/>
            </a:pPr>
            <a:r>
              <a:rPr lang="en-US" b="1" dirty="0"/>
              <a:t>Slicers</a:t>
            </a:r>
          </a:p>
          <a:p>
            <a:pPr lvl="1"/>
            <a:r>
              <a:rPr lang="en-US" dirty="0"/>
              <a:t>Advantages; intuitive layout on report canvas, hierarchical slicer, filter context visible, support edit visual interaction, synced slicers</a:t>
            </a:r>
          </a:p>
          <a:p>
            <a:pPr lvl="1"/>
            <a:r>
              <a:rPr lang="en-US" dirty="0"/>
              <a:t>Disadvantages; can impact performance, take up space in report canvas</a:t>
            </a:r>
          </a:p>
        </p:txBody>
      </p:sp>
    </p:spTree>
    <p:extLst>
      <p:ext uri="{BB962C8B-B14F-4D97-AF65-F5344CB8AC3E}">
        <p14:creationId xmlns:p14="http://schemas.microsoft.com/office/powerpoint/2010/main" val="18369262"/>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ing Tips</a:t>
            </a:r>
          </a:p>
        </p:txBody>
      </p:sp>
      <p:sp>
        <p:nvSpPr>
          <p:cNvPr id="2" name="Text Placeholder 2">
            <a:extLst>
              <a:ext uri="{FF2B5EF4-FFF2-40B4-BE49-F238E27FC236}">
                <a16:creationId xmlns:a16="http://schemas.microsoft.com/office/drawing/2014/main" id="{0AF5C69C-4F07-7439-ED0F-F5C314512EEE}"/>
              </a:ext>
            </a:extLst>
          </p:cNvPr>
          <p:cNvSpPr txBox="1">
            <a:spLocks/>
          </p:cNvSpPr>
          <p:nvPr/>
        </p:nvSpPr>
        <p:spPr>
          <a:xfrm>
            <a:off x="595915" y="1464074"/>
            <a:ext cx="11239464" cy="3717171"/>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Use either filters or slicers. </a:t>
            </a:r>
          </a:p>
          <a:p>
            <a:pPr lvl="1"/>
            <a:r>
              <a:rPr lang="en-US" dirty="0"/>
              <a:t>Avoid using both filter techniques because it can create confusion.</a:t>
            </a:r>
          </a:p>
          <a:p>
            <a:r>
              <a:rPr lang="en-US" dirty="0"/>
              <a:t>Use the clear all slicers button to reset to default values</a:t>
            </a:r>
          </a:p>
          <a:p>
            <a:r>
              <a:rPr lang="en-US" dirty="0"/>
              <a:t>When a requirement is in place to lay out many slicers, consider creating a page or fly out pane that is dedicated to showing all slicers.</a:t>
            </a:r>
          </a:p>
        </p:txBody>
      </p:sp>
    </p:spTree>
    <p:extLst>
      <p:ext uri="{BB962C8B-B14F-4D97-AF65-F5344CB8AC3E}">
        <p14:creationId xmlns:p14="http://schemas.microsoft.com/office/powerpoint/2010/main" val="221507146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esign For Accessibility</a:t>
            </a:r>
          </a:p>
        </p:txBody>
      </p:sp>
      <p:sp>
        <p:nvSpPr>
          <p:cNvPr id="2" name="Text Placeholder 2">
            <a:extLst>
              <a:ext uri="{FF2B5EF4-FFF2-40B4-BE49-F238E27FC236}">
                <a16:creationId xmlns:a16="http://schemas.microsoft.com/office/drawing/2014/main" id="{973E70A4-87F5-41F9-829A-C4FD21CB3ED8}"/>
              </a:ext>
            </a:extLst>
          </p:cNvPr>
          <p:cNvSpPr txBox="1">
            <a:spLocks/>
          </p:cNvSpPr>
          <p:nvPr/>
        </p:nvSpPr>
        <p:spPr>
          <a:xfrm>
            <a:off x="595915" y="1464074"/>
            <a:ext cx="10649935" cy="4644626"/>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b="1" dirty="0"/>
              <a:t>Styling </a:t>
            </a:r>
          </a:p>
          <a:p>
            <a:pPr lvl="1"/>
            <a:r>
              <a:rPr lang="en-US" dirty="0"/>
              <a:t>Larger fonts, color blindness. E.g., built-in theme Color blind safe or High contrast</a:t>
            </a:r>
          </a:p>
          <a:p>
            <a:r>
              <a:rPr lang="en-US" b="1" dirty="0"/>
              <a:t>Alt text </a:t>
            </a:r>
          </a:p>
          <a:p>
            <a:pPr lvl="1"/>
            <a:r>
              <a:rPr lang="en-US" dirty="0"/>
              <a:t>Can describe the appearance and function of report objects to screen reader users</a:t>
            </a:r>
          </a:p>
          <a:p>
            <a:r>
              <a:rPr lang="en-US" b="1" dirty="0"/>
              <a:t>Tab order</a:t>
            </a:r>
            <a:r>
              <a:rPr lang="en-US" dirty="0"/>
              <a:t> </a:t>
            </a:r>
          </a:p>
          <a:p>
            <a:pPr lvl="1"/>
            <a:r>
              <a:rPr lang="en-US" dirty="0"/>
              <a:t>Build a logical sequence</a:t>
            </a:r>
          </a:p>
          <a:p>
            <a:r>
              <a:rPr lang="en-US" b="1" dirty="0"/>
              <a:t>Conditional formatting </a:t>
            </a:r>
          </a:p>
          <a:p>
            <a:pPr lvl="1"/>
            <a:r>
              <a:rPr lang="en-US" dirty="0"/>
              <a:t>Use icons and colors</a:t>
            </a:r>
          </a:p>
        </p:txBody>
      </p:sp>
    </p:spTree>
    <p:extLst>
      <p:ext uri="{BB962C8B-B14F-4D97-AF65-F5344CB8AC3E}">
        <p14:creationId xmlns:p14="http://schemas.microsoft.com/office/powerpoint/2010/main" val="200940884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Before Publishing</a:t>
            </a:r>
          </a:p>
        </p:txBody>
      </p:sp>
      <p:sp>
        <p:nvSpPr>
          <p:cNvPr id="2" name="Text Placeholder 2">
            <a:extLst>
              <a:ext uri="{FF2B5EF4-FFF2-40B4-BE49-F238E27FC236}">
                <a16:creationId xmlns:a16="http://schemas.microsoft.com/office/drawing/2014/main" id="{A8FEC8D0-DDE3-150B-5F9F-713A64DFFD4C}"/>
              </a:ext>
            </a:extLst>
          </p:cNvPr>
          <p:cNvSpPr txBox="1">
            <a:spLocks/>
          </p:cNvSpPr>
          <p:nvPr/>
        </p:nvSpPr>
        <p:spPr>
          <a:xfrm>
            <a:off x="595915" y="1464074"/>
            <a:ext cx="11840560" cy="5851795"/>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dirty="0"/>
              <a:t>Testing</a:t>
            </a:r>
          </a:p>
          <a:p>
            <a:pPr lvl="1"/>
            <a:r>
              <a:rPr lang="en-US" dirty="0"/>
              <a:t>User acceptance test, test on different interfaces (Service, mobile app, embedded), Performance!</a:t>
            </a:r>
          </a:p>
          <a:p>
            <a:pPr marL="0" indent="0">
              <a:buNone/>
            </a:pPr>
            <a:r>
              <a:rPr lang="en-US" b="1" dirty="0"/>
              <a:t>Prepare for publication</a:t>
            </a:r>
          </a:p>
          <a:p>
            <a:pPr lvl="1"/>
            <a:r>
              <a:rPr lang="en-US" dirty="0"/>
              <a:t>Set intended initial experience, e.g., define first page, reset filters and slicers, visual drill state, sort orders, and button state</a:t>
            </a:r>
          </a:p>
          <a:p>
            <a:pPr marL="0" indent="0">
              <a:buNone/>
            </a:pPr>
            <a:r>
              <a:rPr lang="en-US" b="1" dirty="0"/>
              <a:t>Provide support</a:t>
            </a:r>
          </a:p>
          <a:p>
            <a:pPr lvl="1"/>
            <a:r>
              <a:rPr lang="en-US" dirty="0"/>
              <a:t>Training, built-in assistance, documentation</a:t>
            </a:r>
          </a:p>
          <a:p>
            <a:pPr marL="0" indent="0">
              <a:buNone/>
            </a:pPr>
            <a:r>
              <a:rPr lang="en-US" b="1" dirty="0"/>
              <a:t>Manage change</a:t>
            </a:r>
          </a:p>
          <a:p>
            <a:pPr lvl="1"/>
            <a:r>
              <a:rPr lang="en-US" dirty="0"/>
              <a:t>Often, it's better to publish a new report that includes many updates than release smaller incremental changes, consider using Deployment pipelines</a:t>
            </a:r>
          </a:p>
          <a:p>
            <a:pPr marL="0" indent="0">
              <a:buNone/>
            </a:pPr>
            <a:r>
              <a:rPr lang="en-US" b="1" dirty="0"/>
              <a:t>And…</a:t>
            </a:r>
          </a:p>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144938986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Validate The Performance</a:t>
            </a:r>
          </a:p>
        </p:txBody>
      </p:sp>
      <p:sp>
        <p:nvSpPr>
          <p:cNvPr id="4" name="TextBox 3">
            <a:extLst>
              <a:ext uri="{FF2B5EF4-FFF2-40B4-BE49-F238E27FC236}">
                <a16:creationId xmlns:a16="http://schemas.microsoft.com/office/drawing/2014/main" id="{88EE4C34-F967-7F63-54BB-7A208E0344B3}"/>
              </a:ext>
            </a:extLst>
          </p:cNvPr>
          <p:cNvSpPr txBox="1"/>
          <p:nvPr/>
        </p:nvSpPr>
        <p:spPr>
          <a:xfrm>
            <a:off x="600059" y="1722664"/>
            <a:ext cx="5227769" cy="1107996"/>
          </a:xfrm>
          <a:prstGeom prst="rect">
            <a:avLst/>
          </a:prstGeom>
          <a:noFill/>
        </p:spPr>
        <p:txBody>
          <a:bodyPr wrap="square" lIns="0" tIns="0" rIns="0" bIns="0" rtlCol="0">
            <a:spAutoFit/>
          </a:bodyPr>
          <a:lstStyle/>
          <a:p>
            <a:pPr algn="l"/>
            <a:r>
              <a:rPr lang="en-US" sz="2400" dirty="0"/>
              <a:t>If it doesn’t perform well in Power BI Desktop, don’t expect it to fix itself in the Power BI service!</a:t>
            </a:r>
          </a:p>
        </p:txBody>
      </p:sp>
      <p:pic>
        <p:nvPicPr>
          <p:cNvPr id="6" name="Picture 5">
            <a:extLst>
              <a:ext uri="{FF2B5EF4-FFF2-40B4-BE49-F238E27FC236}">
                <a16:creationId xmlns:a16="http://schemas.microsoft.com/office/drawing/2014/main" id="{77761A04-9BF5-06B2-05C2-840346C315E7}"/>
              </a:ext>
            </a:extLst>
          </p:cNvPr>
          <p:cNvPicPr>
            <a:picLocks noChangeAspect="1"/>
          </p:cNvPicPr>
          <p:nvPr/>
        </p:nvPicPr>
        <p:blipFill>
          <a:blip r:embed="rId2"/>
          <a:stretch>
            <a:fillRect/>
          </a:stretch>
        </p:blipFill>
        <p:spPr>
          <a:xfrm>
            <a:off x="6607060" y="1722664"/>
            <a:ext cx="5227769" cy="4368921"/>
          </a:xfrm>
          <a:prstGeom prst="rect">
            <a:avLst/>
          </a:prstGeom>
        </p:spPr>
      </p:pic>
    </p:spTree>
    <p:extLst>
      <p:ext uri="{BB962C8B-B14F-4D97-AF65-F5344CB8AC3E}">
        <p14:creationId xmlns:p14="http://schemas.microsoft.com/office/powerpoint/2010/main" val="130183947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94387869"/>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187844155"/>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176736134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400966377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717912170"/>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dirty="0">
                <a:ln w="3175">
                  <a:noFill/>
                </a:ln>
                <a:solidFill>
                  <a:srgbClr val="F2C811"/>
                </a:solidFill>
                <a:latin typeface="Segoe UI Semibold"/>
                <a:cs typeface="Segoe UI" pitchFamily="34" charset="0"/>
              </a:rPr>
              <a:t>8 years </a:t>
            </a:r>
            <a:br>
              <a:rPr lang="en-US" sz="5506" spc="-50" dirty="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dirty="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1294431326"/>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937713753"/>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703577308"/>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1334414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291263803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40762573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267337703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96555425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245477553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3575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78.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1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2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6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2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3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3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3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3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3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3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3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3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3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3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3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3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3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3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3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5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3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3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807E26-D60A-4BC0-9B6B-FF21DEC2B07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4010</TotalTime>
  <Words>13749</Words>
  <Application>Microsoft Office PowerPoint</Application>
  <PresentationFormat>Custom</PresentationFormat>
  <Paragraphs>2897</Paragraphs>
  <Slides>198</Slides>
  <Notes>86</Notes>
  <HiddenSlides>94</HiddenSlides>
  <MMClips>3</MMClips>
  <ScaleCrop>false</ScaleCrop>
  <HeadingPairs>
    <vt:vector size="8" baseType="variant">
      <vt:variant>
        <vt:lpstr>Fonts Used</vt:lpstr>
      </vt:variant>
      <vt:variant>
        <vt:i4>21</vt:i4>
      </vt:variant>
      <vt:variant>
        <vt:lpstr>Theme</vt:lpstr>
      </vt:variant>
      <vt:variant>
        <vt:i4>12</vt:i4>
      </vt:variant>
      <vt:variant>
        <vt:lpstr>Embedded OLE Servers</vt:lpstr>
      </vt:variant>
      <vt:variant>
        <vt:i4>1</vt:i4>
      </vt:variant>
      <vt:variant>
        <vt:lpstr>Slide Titles</vt:lpstr>
      </vt:variant>
      <vt:variant>
        <vt:i4>198</vt:i4>
      </vt:variant>
    </vt:vector>
  </HeadingPairs>
  <TitlesOfParts>
    <vt:vector size="232" baseType="lpstr">
      <vt:lpstr>-apple-system</vt: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Session resources</vt:lpstr>
      <vt:lpstr>All workshop materials available at: https://aka.ms/pbiworkshops  Folder: Day After Dashboard in a Day</vt:lpstr>
      <vt:lpstr>THE DAY AFTER *DASHBOARD  IN A DAY * Technically it was a report</vt:lpstr>
      <vt:lpstr>PowerPoint Presentation</vt:lpstr>
      <vt:lpstr>PowerPoint Presentation</vt:lpstr>
      <vt:lpstr>Agenda (times are approximate and will be fluid with the class)</vt:lpstr>
      <vt:lpstr>Agenda (times are approximate and will be fluid with the class)</vt:lpstr>
      <vt:lpstr>A retrospective…</vt:lpstr>
      <vt:lpstr>Power BI  monthly active usage</vt:lpstr>
      <vt:lpstr>PowerPoint Presentation</vt:lpstr>
      <vt:lpstr>PowerPoint Presentation</vt:lpstr>
      <vt:lpstr>PowerPoint Presentation</vt:lpstr>
      <vt:lpstr>PowerPoint Presentation</vt:lpstr>
      <vt:lpstr>All materials available at:</vt:lpstr>
      <vt:lpstr>SETUP</vt:lpstr>
      <vt:lpstr>    </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PowerPoint Presentation</vt:lpstr>
      <vt:lpstr>PowerPoint Presentation</vt:lpstr>
      <vt:lpstr>PowerPoint Presentation</vt:lpstr>
      <vt:lpstr>    </vt:lpstr>
      <vt:lpstr>PowerPoint Presentation</vt:lpstr>
      <vt:lpstr>PowerPoint Presentation</vt:lpstr>
      <vt:lpstr>Report types</vt:lpstr>
      <vt:lpstr>How does Power BI do it?</vt:lpstr>
      <vt:lpstr>Power BI Desktop</vt:lpstr>
      <vt:lpstr>Power BI Report Builder</vt:lpstr>
      <vt:lpstr>Microsoft Excel</vt:lpstr>
      <vt:lpstr>Microsoft Excel</vt:lpstr>
      <vt:lpstr>What does a *good report look like?</vt:lpstr>
      <vt:lpstr>We know it when we see it…</vt:lpstr>
      <vt:lpstr>We know it when we see it…</vt:lpstr>
      <vt:lpstr>We know it when we see it…</vt:lpstr>
      <vt:lpstr>PowerPoint Presentation</vt:lpstr>
      <vt:lpstr>PowerPoint Presentation</vt:lpstr>
      <vt:lpstr>Report design: Structure Design Tools Tes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One more thing…</vt:lpstr>
      <vt:lpstr>Thank you!</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uild Navigation With Buttons</vt:lpstr>
      <vt:lpstr>Build Navigation With Buttons</vt:lpstr>
      <vt:lpstr>Build Navigation With Buttons</vt:lpstr>
      <vt:lpstr>Using built-in Assistance</vt:lpstr>
      <vt:lpstr>Using built-in Assistance</vt:lpstr>
      <vt:lpstr>Mobile Experience</vt:lpstr>
      <vt:lpstr>Visual Selection</vt:lpstr>
      <vt:lpstr>PowerPoint Presentation</vt:lpstr>
      <vt:lpstr>PowerPoint Presentation</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PowerPoint Presentation</vt:lpstr>
      <vt:lpstr>Appendix</vt:lpstr>
      <vt:lpstr>Categorical Visuals</vt:lpstr>
      <vt:lpstr>Time Series Visuals</vt:lpstr>
      <vt:lpstr>Time Series Visuals</vt:lpstr>
      <vt:lpstr>Proportional Visuals </vt:lpstr>
      <vt:lpstr>Numeric Visuals</vt:lpstr>
      <vt:lpstr>Grid Visuals</vt:lpstr>
      <vt:lpstr>Performance Visuals</vt:lpstr>
      <vt:lpstr>Geospatial Visuals </vt:lpstr>
      <vt:lpstr>Filter Pane</vt:lpstr>
      <vt:lpstr>Filter Pane</vt:lpstr>
      <vt:lpstr>Filter Pane</vt:lpstr>
      <vt:lpstr>Filter Pane</vt:lpstr>
      <vt:lpstr>Filter Pane</vt:lpstr>
      <vt:lpstr>Filter Pane</vt:lpstr>
      <vt:lpstr>Slicers</vt:lpstr>
      <vt:lpstr>Slicers</vt:lpstr>
      <vt:lpstr>Visual Headers</vt:lpstr>
      <vt:lpstr>AI Visuals</vt:lpstr>
      <vt:lpstr>AI Visuals</vt:lpstr>
      <vt:lpstr>AI Visuals</vt:lpstr>
      <vt:lpstr>AI Visuals</vt:lpstr>
      <vt:lpstr>IF TIME ALLOWS… THE DEEP END.</vt:lpstr>
      <vt:lpstr>Performance considerations: Column cardinality Column encoding Efficient resource usage External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ability considerations: Date tables Extreme dates Measuring cardina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lex Powers</cp:lastModifiedBy>
  <cp:revision>11</cp:revision>
  <dcterms:modified xsi:type="dcterms:W3CDTF">2023-03-20T15:5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